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notesSlides/notesSlide6.xml" ContentType="application/vnd.openxmlformats-officedocument.presentationml.notesSlide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23" r:id="rId1"/>
  </p:sldMasterIdLst>
  <p:notesMasterIdLst>
    <p:notesMasterId r:id="rId12"/>
  </p:notesMasterIdLst>
  <p:handoutMasterIdLst>
    <p:handoutMasterId r:id="rId13"/>
  </p:handoutMasterIdLst>
  <p:sldIdLst>
    <p:sldId id="416" r:id="rId2"/>
    <p:sldId id="417" r:id="rId3"/>
    <p:sldId id="418" r:id="rId4"/>
    <p:sldId id="419" r:id="rId5"/>
    <p:sldId id="420" r:id="rId6"/>
    <p:sldId id="426" r:id="rId7"/>
    <p:sldId id="427" r:id="rId8"/>
    <p:sldId id="423" r:id="rId9"/>
    <p:sldId id="424" r:id="rId10"/>
    <p:sldId id="425" r:id="rId11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485" autoAdjust="0"/>
    <p:restoredTop sz="94795"/>
  </p:normalViewPr>
  <p:slideViewPr>
    <p:cSldViewPr snapToGrid="0" snapToObjects="1" showGuides="1">
      <p:cViewPr varScale="1">
        <p:scale>
          <a:sx n="78" d="100"/>
          <a:sy n="78" d="100"/>
        </p:scale>
        <p:origin x="922" y="6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60" d="100"/>
          <a:sy n="60" d="100"/>
        </p:scale>
        <p:origin x="3187" y="3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4A09DDA-0787-4B42-881F-6B3C2393185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431845B-8C18-C246-A0D1-61FFD196315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0301B5-88AD-1849-891D-EA2905EB5A88}" type="datetimeFigureOut">
              <a:rPr lang="en-US" smtClean="0"/>
              <a:t>3/4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C75FE6D-CCE1-E44E-89A4-77460EF6CCB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D6315B-F8F9-5649-8DCB-C363E729D5E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A602F4-4C0C-5F4F-8771-7E15167AE5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4555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50AB23-24A6-494C-BA00-B87242B78CB4}" type="datetimeFigureOut">
              <a:rPr lang="en-GB" smtClean="0"/>
              <a:t>04/03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CA530D-631F-4981-98F0-E6C07C67E1A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95411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4613" y="739775"/>
            <a:ext cx="6569075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472787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4613" y="739775"/>
            <a:ext cx="6569075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032175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4613" y="739775"/>
            <a:ext cx="6569075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95569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4613" y="739775"/>
            <a:ext cx="6569075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01909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4613" y="739775"/>
            <a:ext cx="6569075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03164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4613" y="739775"/>
            <a:ext cx="6569075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7291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4613" y="739775"/>
            <a:ext cx="6569075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2711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4613" y="739775"/>
            <a:ext cx="6569075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58225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F551EDA-1BC9-487A-8B93-65502CD3BF9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pl-PL" sz="32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4" y="432001"/>
            <a:ext cx="6559198" cy="49244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pl-PL"/>
              <a:t>[Action title]</a:t>
            </a:r>
            <a:endParaRPr lang="pl-PL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750E3-3DF6-B94E-959B-C6E962A30C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  <p:pic>
        <p:nvPicPr>
          <p:cNvPr id="5130" name="Picture 10">
            <a:extLst>
              <a:ext uri="{FF2B5EF4-FFF2-40B4-BE49-F238E27FC236}">
                <a16:creationId xmlns:a16="http://schemas.microsoft.com/office/drawing/2014/main" id="{6D8473E2-014C-4595-A89D-CC19480517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425185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All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2" y="428625"/>
            <a:ext cx="7418388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3" y="3764282"/>
            <a:ext cx="5473700" cy="70484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9644956-77CE-C94F-9DC1-ACB7D92E892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85139" y="5330952"/>
            <a:ext cx="1636776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91510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6096000" y="0"/>
            <a:ext cx="6096000" cy="4575812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Rectangle 8"/>
          <p:cNvSpPr/>
          <p:nvPr/>
        </p:nvSpPr>
        <p:spPr bwMode="hidden">
          <a:xfrm>
            <a:off x="0" y="0"/>
            <a:ext cx="6096000" cy="4575812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/>
        </p:nvSpPr>
        <p:spPr bwMode="hidden">
          <a:xfrm>
            <a:off x="0" y="4575812"/>
            <a:ext cx="6096000" cy="2282188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3" y="428625"/>
            <a:ext cx="5473700" cy="2066926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3" y="5101594"/>
            <a:ext cx="5473700" cy="70484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09BFEA4-1A04-C344-804A-E610366F998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0337737" y="5330952"/>
            <a:ext cx="1636776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64888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ines">
    <p:bg>
      <p:bgPr>
        <a:solidFill>
          <a:srgbClr val="DEDE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0" y="0"/>
            <a:ext cx="12192000" cy="6858000"/>
          </a:xfrm>
          <a:solidFill>
            <a:srgbClr val="DEDEDE"/>
          </a:solidFill>
        </p:spPr>
        <p:txBody>
          <a:bodyPr tIns="9144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91E7E14-05A1-3C44-AC4F-3B254DA49C58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30AF71D2-4341-774D-95E6-2A6EC9FAB977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0" y="0"/>
              <a:ext cx="12192000" cy="6858000"/>
              <a:chOff x="152400" y="152400"/>
              <a:chExt cx="12196763" cy="6862763"/>
            </a:xfrm>
          </p:grpSpPr>
          <p:sp>
            <p:nvSpPr>
              <p:cNvPr id="6" name="Freeform 5">
                <a:extLst>
                  <a:ext uri="{FF2B5EF4-FFF2-40B4-BE49-F238E27FC236}">
                    <a16:creationId xmlns:a16="http://schemas.microsoft.com/office/drawing/2014/main" id="{EB6FF182-420C-CE44-A08A-9911616955D9}"/>
                  </a:ext>
                </a:extLst>
              </p:cNvPr>
              <p:cNvSpPr>
                <a:spLocks noChangeAspect="1"/>
              </p:cNvSpPr>
              <p:nvPr/>
            </p:nvSpPr>
            <p:spPr bwMode="hidden">
              <a:xfrm>
                <a:off x="152400" y="3775075"/>
                <a:ext cx="9142413" cy="777875"/>
              </a:xfrm>
              <a:custGeom>
                <a:avLst/>
                <a:gdLst>
                  <a:gd name="T0" fmla="*/ 0 w 7908"/>
                  <a:gd name="T1" fmla="*/ 0 h 1632"/>
                  <a:gd name="T2" fmla="*/ 0 w 7908"/>
                  <a:gd name="T3" fmla="*/ 0 h 1632"/>
                  <a:gd name="T4" fmla="*/ 7908 w 7908"/>
                  <a:gd name="T5" fmla="*/ 0 h 1632"/>
                  <a:gd name="T6" fmla="*/ 7908 w 7908"/>
                  <a:gd name="T7" fmla="*/ 1632 h 1632"/>
                  <a:gd name="T8" fmla="*/ 0 w 7908"/>
                  <a:gd name="T9" fmla="*/ 1632 h 1632"/>
                  <a:gd name="T10" fmla="*/ 0 w 7908"/>
                  <a:gd name="T11" fmla="*/ 0 h 1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908" h="1632">
                    <a:moveTo>
                      <a:pt x="0" y="0"/>
                    </a:moveTo>
                    <a:lnTo>
                      <a:pt x="0" y="0"/>
                    </a:lnTo>
                    <a:lnTo>
                      <a:pt x="7908" y="0"/>
                    </a:lnTo>
                    <a:lnTo>
                      <a:pt x="7908" y="1632"/>
                    </a:lnTo>
                    <a:lnTo>
                      <a:pt x="0" y="16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04A0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id="{3BE432B1-2C50-3E4E-AD63-D3F80C22CFAE}"/>
                  </a:ext>
                </a:extLst>
              </p:cNvPr>
              <p:cNvSpPr>
                <a:spLocks noChangeAspect="1"/>
              </p:cNvSpPr>
              <p:nvPr/>
            </p:nvSpPr>
            <p:spPr bwMode="white">
              <a:xfrm>
                <a:off x="152400" y="152400"/>
                <a:ext cx="12196763" cy="6862763"/>
              </a:xfrm>
              <a:custGeom>
                <a:avLst/>
                <a:gdLst>
                  <a:gd name="T0" fmla="*/ 19187 w 25599"/>
                  <a:gd name="T1" fmla="*/ 0 h 14399"/>
                  <a:gd name="T2" fmla="*/ 19187 w 25599"/>
                  <a:gd name="T3" fmla="*/ 0 h 14399"/>
                  <a:gd name="T4" fmla="*/ 19187 w 25599"/>
                  <a:gd name="T5" fmla="*/ 6949 h 14399"/>
                  <a:gd name="T6" fmla="*/ 0 w 25599"/>
                  <a:gd name="T7" fmla="*/ 6949 h 14399"/>
                  <a:gd name="T8" fmla="*/ 0 w 25599"/>
                  <a:gd name="T9" fmla="*/ 7602 h 14399"/>
                  <a:gd name="T10" fmla="*/ 19187 w 25599"/>
                  <a:gd name="T11" fmla="*/ 7602 h 14399"/>
                  <a:gd name="T12" fmla="*/ 19187 w 25599"/>
                  <a:gd name="T13" fmla="*/ 9234 h 14399"/>
                  <a:gd name="T14" fmla="*/ 0 w 25599"/>
                  <a:gd name="T15" fmla="*/ 9234 h 14399"/>
                  <a:gd name="T16" fmla="*/ 0 w 25599"/>
                  <a:gd name="T17" fmla="*/ 9887 h 14399"/>
                  <a:gd name="T18" fmla="*/ 19187 w 25599"/>
                  <a:gd name="T19" fmla="*/ 9887 h 14399"/>
                  <a:gd name="T20" fmla="*/ 19187 w 25599"/>
                  <a:gd name="T21" fmla="*/ 14399 h 14399"/>
                  <a:gd name="T22" fmla="*/ 19839 w 25599"/>
                  <a:gd name="T23" fmla="*/ 14399 h 14399"/>
                  <a:gd name="T24" fmla="*/ 19839 w 25599"/>
                  <a:gd name="T25" fmla="*/ 9887 h 14399"/>
                  <a:gd name="T26" fmla="*/ 25599 w 25599"/>
                  <a:gd name="T27" fmla="*/ 9887 h 14399"/>
                  <a:gd name="T28" fmla="*/ 25599 w 25599"/>
                  <a:gd name="T29" fmla="*/ 9234 h 14399"/>
                  <a:gd name="T30" fmla="*/ 19839 w 25599"/>
                  <a:gd name="T31" fmla="*/ 9234 h 14399"/>
                  <a:gd name="T32" fmla="*/ 19839 w 25599"/>
                  <a:gd name="T33" fmla="*/ 7602 h 14399"/>
                  <a:gd name="T34" fmla="*/ 25599 w 25599"/>
                  <a:gd name="T35" fmla="*/ 7602 h 14399"/>
                  <a:gd name="T36" fmla="*/ 25599 w 25599"/>
                  <a:gd name="T37" fmla="*/ 6949 h 14399"/>
                  <a:gd name="T38" fmla="*/ 19839 w 25599"/>
                  <a:gd name="T39" fmla="*/ 6949 h 14399"/>
                  <a:gd name="T40" fmla="*/ 19839 w 25599"/>
                  <a:gd name="T41" fmla="*/ 0 h 14399"/>
                  <a:gd name="T42" fmla="*/ 19187 w 25599"/>
                  <a:gd name="T43" fmla="*/ 0 h 14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5599" h="14399">
                    <a:moveTo>
                      <a:pt x="19187" y="0"/>
                    </a:moveTo>
                    <a:lnTo>
                      <a:pt x="19187" y="0"/>
                    </a:lnTo>
                    <a:lnTo>
                      <a:pt x="19187" y="6949"/>
                    </a:lnTo>
                    <a:lnTo>
                      <a:pt x="0" y="6949"/>
                    </a:lnTo>
                    <a:lnTo>
                      <a:pt x="0" y="7602"/>
                    </a:lnTo>
                    <a:lnTo>
                      <a:pt x="19187" y="7602"/>
                    </a:lnTo>
                    <a:lnTo>
                      <a:pt x="19187" y="9234"/>
                    </a:lnTo>
                    <a:lnTo>
                      <a:pt x="0" y="9234"/>
                    </a:lnTo>
                    <a:lnTo>
                      <a:pt x="0" y="9887"/>
                    </a:lnTo>
                    <a:lnTo>
                      <a:pt x="19187" y="9887"/>
                    </a:lnTo>
                    <a:lnTo>
                      <a:pt x="19187" y="14399"/>
                    </a:lnTo>
                    <a:lnTo>
                      <a:pt x="19839" y="14399"/>
                    </a:lnTo>
                    <a:lnTo>
                      <a:pt x="19839" y="9887"/>
                    </a:lnTo>
                    <a:lnTo>
                      <a:pt x="25599" y="9887"/>
                    </a:lnTo>
                    <a:lnTo>
                      <a:pt x="25599" y="9234"/>
                    </a:lnTo>
                    <a:lnTo>
                      <a:pt x="19839" y="9234"/>
                    </a:lnTo>
                    <a:lnTo>
                      <a:pt x="19839" y="7602"/>
                    </a:lnTo>
                    <a:lnTo>
                      <a:pt x="25599" y="7602"/>
                    </a:lnTo>
                    <a:lnTo>
                      <a:pt x="25599" y="6949"/>
                    </a:lnTo>
                    <a:lnTo>
                      <a:pt x="19839" y="6949"/>
                    </a:lnTo>
                    <a:lnTo>
                      <a:pt x="19839" y="0"/>
                    </a:lnTo>
                    <a:lnTo>
                      <a:pt x="19187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42E31FB-8697-8E4D-9430-7773E91817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4" y="3713607"/>
            <a:ext cx="5473699" cy="592074"/>
          </a:xfrm>
          <a:noFill/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4" y="428624"/>
            <a:ext cx="7418386" cy="1884391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18934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nes 2">
    <p:bg>
      <p:bgPr>
        <a:solidFill>
          <a:srgbClr val="DEDE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0" y="0"/>
            <a:ext cx="12192000" cy="6858000"/>
          </a:xfrm>
          <a:solidFill>
            <a:srgbClr val="DEDEDE"/>
          </a:solidFill>
        </p:spPr>
        <p:txBody>
          <a:bodyPr tIns="9144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7BDC28A-6CCA-D946-B517-6BB4EEB49B0B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7" name="Freeform: Shape 7">
              <a:extLst>
                <a:ext uri="{FF2B5EF4-FFF2-40B4-BE49-F238E27FC236}">
                  <a16:creationId xmlns:a16="http://schemas.microsoft.com/office/drawing/2014/main" id="{88987A12-2FCD-A24E-A035-A87DB2CE21C2}"/>
                </a:ext>
              </a:extLst>
            </p:cNvPr>
            <p:cNvSpPr/>
            <p:nvPr userDrawn="1"/>
          </p:nvSpPr>
          <p:spPr bwMode="white">
            <a:xfrm>
              <a:off x="0" y="0"/>
              <a:ext cx="12192000" cy="6858000"/>
            </a:xfrm>
            <a:custGeom>
              <a:avLst/>
              <a:gdLst>
                <a:gd name="connsiteX0" fmla="*/ 9144000 w 12192000"/>
                <a:gd name="connsiteY0" fmla="*/ 0 h 6858000"/>
                <a:gd name="connsiteX1" fmla="*/ 9450000 w 12192000"/>
                <a:gd name="connsiteY1" fmla="*/ 0 h 6858000"/>
                <a:gd name="connsiteX2" fmla="*/ 9450000 w 12192000"/>
                <a:gd name="connsiteY2" fmla="*/ 3309692 h 6858000"/>
                <a:gd name="connsiteX3" fmla="*/ 12192000 w 12192000"/>
                <a:gd name="connsiteY3" fmla="*/ 3309692 h 6858000"/>
                <a:gd name="connsiteX4" fmla="*/ 12192000 w 12192000"/>
                <a:gd name="connsiteY4" fmla="*/ 3615692 h 6858000"/>
                <a:gd name="connsiteX5" fmla="*/ 9450000 w 12192000"/>
                <a:gd name="connsiteY5" fmla="*/ 3615692 h 6858000"/>
                <a:gd name="connsiteX6" fmla="*/ 9450000 w 12192000"/>
                <a:gd name="connsiteY6" fmla="*/ 4394836 h 6858000"/>
                <a:gd name="connsiteX7" fmla="*/ 12192000 w 12192000"/>
                <a:gd name="connsiteY7" fmla="*/ 4394836 h 6858000"/>
                <a:gd name="connsiteX8" fmla="*/ 12192000 w 12192000"/>
                <a:gd name="connsiteY8" fmla="*/ 4700836 h 6858000"/>
                <a:gd name="connsiteX9" fmla="*/ 9450000 w 12192000"/>
                <a:gd name="connsiteY9" fmla="*/ 4700836 h 6858000"/>
                <a:gd name="connsiteX10" fmla="*/ 9450000 w 12192000"/>
                <a:gd name="connsiteY10" fmla="*/ 6858000 h 6858000"/>
                <a:gd name="connsiteX11" fmla="*/ 9144000 w 12192000"/>
                <a:gd name="connsiteY11" fmla="*/ 6858000 h 6858000"/>
                <a:gd name="connsiteX12" fmla="*/ 9144000 w 12192000"/>
                <a:gd name="connsiteY12" fmla="*/ 4700836 h 6858000"/>
                <a:gd name="connsiteX13" fmla="*/ 0 w 12192000"/>
                <a:gd name="connsiteY13" fmla="*/ 4700836 h 6858000"/>
                <a:gd name="connsiteX14" fmla="*/ 0 w 12192000"/>
                <a:gd name="connsiteY14" fmla="*/ 4394836 h 6858000"/>
                <a:gd name="connsiteX15" fmla="*/ 9144000 w 12192000"/>
                <a:gd name="connsiteY15" fmla="*/ 4394836 h 6858000"/>
                <a:gd name="connsiteX16" fmla="*/ 9144000 w 12192000"/>
                <a:gd name="connsiteY16" fmla="*/ 3615692 h 6858000"/>
                <a:gd name="connsiteX17" fmla="*/ 0 w 12192000"/>
                <a:gd name="connsiteY17" fmla="*/ 3615692 h 6858000"/>
                <a:gd name="connsiteX18" fmla="*/ 0 w 12192000"/>
                <a:gd name="connsiteY18" fmla="*/ 3309692 h 6858000"/>
                <a:gd name="connsiteX19" fmla="*/ 9144000 w 12192000"/>
                <a:gd name="connsiteY19" fmla="*/ 3309692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6858000">
                  <a:moveTo>
                    <a:pt x="9144000" y="0"/>
                  </a:moveTo>
                  <a:lnTo>
                    <a:pt x="9450000" y="0"/>
                  </a:lnTo>
                  <a:lnTo>
                    <a:pt x="9450000" y="3309692"/>
                  </a:lnTo>
                  <a:lnTo>
                    <a:pt x="12192000" y="3309692"/>
                  </a:lnTo>
                  <a:lnTo>
                    <a:pt x="12192000" y="3615692"/>
                  </a:lnTo>
                  <a:lnTo>
                    <a:pt x="9450000" y="3615692"/>
                  </a:lnTo>
                  <a:lnTo>
                    <a:pt x="9450000" y="4394836"/>
                  </a:lnTo>
                  <a:lnTo>
                    <a:pt x="12192000" y="4394836"/>
                  </a:lnTo>
                  <a:lnTo>
                    <a:pt x="12192000" y="4700836"/>
                  </a:lnTo>
                  <a:lnTo>
                    <a:pt x="9450000" y="4700836"/>
                  </a:lnTo>
                  <a:lnTo>
                    <a:pt x="9450000" y="6858000"/>
                  </a:lnTo>
                  <a:lnTo>
                    <a:pt x="9144000" y="6858000"/>
                  </a:lnTo>
                  <a:lnTo>
                    <a:pt x="9144000" y="4700836"/>
                  </a:lnTo>
                  <a:lnTo>
                    <a:pt x="0" y="4700836"/>
                  </a:lnTo>
                  <a:lnTo>
                    <a:pt x="0" y="4394836"/>
                  </a:lnTo>
                  <a:lnTo>
                    <a:pt x="9144000" y="4394836"/>
                  </a:lnTo>
                  <a:lnTo>
                    <a:pt x="9144000" y="3615692"/>
                  </a:lnTo>
                  <a:lnTo>
                    <a:pt x="0" y="3615692"/>
                  </a:lnTo>
                  <a:lnTo>
                    <a:pt x="0" y="3309692"/>
                  </a:lnTo>
                  <a:lnTo>
                    <a:pt x="9144000" y="33096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dirty="0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BFFF2DD-324A-4741-B09D-D8BFF0170BC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gray">
            <a:xfrm>
              <a:off x="185139" y="5330952"/>
              <a:ext cx="1636776" cy="1351185"/>
            </a:xfrm>
            <a:prstGeom prst="rect">
              <a:avLst/>
            </a:prstGeom>
          </p:spPr>
        </p:pic>
      </p:grpSp>
      <p:sp>
        <p:nvSpPr>
          <p:cNvPr id="8" name="Subtitle 2">
            <a:extLst>
              <a:ext uri="{FF2B5EF4-FFF2-40B4-BE49-F238E27FC236}">
                <a16:creationId xmlns:a16="http://schemas.microsoft.com/office/drawing/2014/main" id="{B2285DDC-FA1B-F84F-B44E-C04413327EF5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3" y="3713607"/>
            <a:ext cx="5473700" cy="594221"/>
          </a:xfrm>
          <a:noFill/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9pPr>
          </a:lstStyle>
          <a:p>
            <a:r>
              <a:rPr lang="en-US" dirty="0"/>
              <a:t>[Presentation subtitle]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2" y="428624"/>
            <a:ext cx="7418387" cy="1884391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37116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ines 3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9450000" y="0"/>
            <a:ext cx="2741999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A901F27-1E18-0046-A577-0550B326C420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6" name="Freeform: Shape 8">
              <a:extLst>
                <a:ext uri="{FF2B5EF4-FFF2-40B4-BE49-F238E27FC236}">
                  <a16:creationId xmlns:a16="http://schemas.microsoft.com/office/drawing/2014/main" id="{2B6306E4-EA3A-6A40-90F3-BFF139CD1856}"/>
                </a:ext>
              </a:extLst>
            </p:cNvPr>
            <p:cNvSpPr/>
            <p:nvPr userDrawn="1"/>
          </p:nvSpPr>
          <p:spPr bwMode="white">
            <a:xfrm>
              <a:off x="0" y="0"/>
              <a:ext cx="12192000" cy="6858000"/>
            </a:xfrm>
            <a:custGeom>
              <a:avLst/>
              <a:gdLst>
                <a:gd name="connsiteX0" fmla="*/ 9144000 w 12192000"/>
                <a:gd name="connsiteY0" fmla="*/ 0 h 6858000"/>
                <a:gd name="connsiteX1" fmla="*/ 9450000 w 12192000"/>
                <a:gd name="connsiteY1" fmla="*/ 0 h 6858000"/>
                <a:gd name="connsiteX2" fmla="*/ 9450000 w 12192000"/>
                <a:gd name="connsiteY2" fmla="*/ 1022986 h 6858000"/>
                <a:gd name="connsiteX3" fmla="*/ 12192000 w 12192000"/>
                <a:gd name="connsiteY3" fmla="*/ 1022986 h 6858000"/>
                <a:gd name="connsiteX4" fmla="*/ 12192000 w 12192000"/>
                <a:gd name="connsiteY4" fmla="*/ 1328986 h 6858000"/>
                <a:gd name="connsiteX5" fmla="*/ 9450000 w 12192000"/>
                <a:gd name="connsiteY5" fmla="*/ 1328986 h 6858000"/>
                <a:gd name="connsiteX6" fmla="*/ 9450000 w 12192000"/>
                <a:gd name="connsiteY6" fmla="*/ 4394836 h 6858000"/>
                <a:gd name="connsiteX7" fmla="*/ 12192000 w 12192000"/>
                <a:gd name="connsiteY7" fmla="*/ 4394836 h 6858000"/>
                <a:gd name="connsiteX8" fmla="*/ 12192000 w 12192000"/>
                <a:gd name="connsiteY8" fmla="*/ 4700836 h 6858000"/>
                <a:gd name="connsiteX9" fmla="*/ 9450000 w 12192000"/>
                <a:gd name="connsiteY9" fmla="*/ 4700836 h 6858000"/>
                <a:gd name="connsiteX10" fmla="*/ 9450000 w 12192000"/>
                <a:gd name="connsiteY10" fmla="*/ 6858000 h 6858000"/>
                <a:gd name="connsiteX11" fmla="*/ 9144000 w 12192000"/>
                <a:gd name="connsiteY11" fmla="*/ 6858000 h 6858000"/>
                <a:gd name="connsiteX12" fmla="*/ 9144000 w 12192000"/>
                <a:gd name="connsiteY12" fmla="*/ 4700836 h 6858000"/>
                <a:gd name="connsiteX13" fmla="*/ 0 w 12192000"/>
                <a:gd name="connsiteY13" fmla="*/ 4700836 h 6858000"/>
                <a:gd name="connsiteX14" fmla="*/ 0 w 12192000"/>
                <a:gd name="connsiteY14" fmla="*/ 4394836 h 6858000"/>
                <a:gd name="connsiteX15" fmla="*/ 9144000 w 12192000"/>
                <a:gd name="connsiteY15" fmla="*/ 4394836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6858000">
                  <a:moveTo>
                    <a:pt x="9144000" y="0"/>
                  </a:moveTo>
                  <a:lnTo>
                    <a:pt x="9450000" y="0"/>
                  </a:lnTo>
                  <a:lnTo>
                    <a:pt x="9450000" y="1022986"/>
                  </a:lnTo>
                  <a:lnTo>
                    <a:pt x="12192000" y="1022986"/>
                  </a:lnTo>
                  <a:lnTo>
                    <a:pt x="12192000" y="1328986"/>
                  </a:lnTo>
                  <a:lnTo>
                    <a:pt x="9450000" y="1328986"/>
                  </a:lnTo>
                  <a:lnTo>
                    <a:pt x="9450000" y="4394836"/>
                  </a:lnTo>
                  <a:lnTo>
                    <a:pt x="12192000" y="4394836"/>
                  </a:lnTo>
                  <a:lnTo>
                    <a:pt x="12192000" y="4700836"/>
                  </a:lnTo>
                  <a:lnTo>
                    <a:pt x="9450000" y="4700836"/>
                  </a:lnTo>
                  <a:lnTo>
                    <a:pt x="9450000" y="6858000"/>
                  </a:lnTo>
                  <a:lnTo>
                    <a:pt x="9144000" y="6858000"/>
                  </a:lnTo>
                  <a:lnTo>
                    <a:pt x="9144000" y="4700836"/>
                  </a:lnTo>
                  <a:lnTo>
                    <a:pt x="0" y="4700836"/>
                  </a:lnTo>
                  <a:lnTo>
                    <a:pt x="0" y="4394836"/>
                  </a:lnTo>
                  <a:lnTo>
                    <a:pt x="9144000" y="439483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/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D67CBCF8-572D-4D45-93D3-B122FE4A2D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8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2" y="428625"/>
            <a:ext cx="7418388" cy="2771775"/>
          </a:xfrm>
        </p:spPr>
        <p:txBody>
          <a:bodyPr anchor="b" anchorCtr="0"/>
          <a:lstStyle>
            <a:lvl1pPr algn="l">
              <a:lnSpc>
                <a:spcPct val="86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3" y="3394710"/>
            <a:ext cx="5473700" cy="70484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18861731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ines 3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9450000" y="0"/>
            <a:ext cx="2742000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5809F74-389C-BF4E-9840-CD3E0121C200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2" name="Freeform: Shape 8">
              <a:extLst>
                <a:ext uri="{FF2B5EF4-FFF2-40B4-BE49-F238E27FC236}">
                  <a16:creationId xmlns:a16="http://schemas.microsoft.com/office/drawing/2014/main" id="{02FC2F29-20BB-FC46-8933-6BF25A395800}"/>
                </a:ext>
              </a:extLst>
            </p:cNvPr>
            <p:cNvSpPr/>
            <p:nvPr userDrawn="1"/>
          </p:nvSpPr>
          <p:spPr bwMode="white">
            <a:xfrm>
              <a:off x="0" y="0"/>
              <a:ext cx="12192000" cy="6858000"/>
            </a:xfrm>
            <a:custGeom>
              <a:avLst/>
              <a:gdLst>
                <a:gd name="connsiteX0" fmla="*/ 9144000 w 12192000"/>
                <a:gd name="connsiteY0" fmla="*/ 0 h 6858000"/>
                <a:gd name="connsiteX1" fmla="*/ 9450000 w 12192000"/>
                <a:gd name="connsiteY1" fmla="*/ 0 h 6858000"/>
                <a:gd name="connsiteX2" fmla="*/ 9450000 w 12192000"/>
                <a:gd name="connsiteY2" fmla="*/ 1022986 h 6858000"/>
                <a:gd name="connsiteX3" fmla="*/ 12192000 w 12192000"/>
                <a:gd name="connsiteY3" fmla="*/ 1022986 h 6858000"/>
                <a:gd name="connsiteX4" fmla="*/ 12192000 w 12192000"/>
                <a:gd name="connsiteY4" fmla="*/ 1328986 h 6858000"/>
                <a:gd name="connsiteX5" fmla="*/ 9450000 w 12192000"/>
                <a:gd name="connsiteY5" fmla="*/ 1328986 h 6858000"/>
                <a:gd name="connsiteX6" fmla="*/ 9450000 w 12192000"/>
                <a:gd name="connsiteY6" fmla="*/ 4394836 h 6858000"/>
                <a:gd name="connsiteX7" fmla="*/ 12192000 w 12192000"/>
                <a:gd name="connsiteY7" fmla="*/ 4394836 h 6858000"/>
                <a:gd name="connsiteX8" fmla="*/ 12192000 w 12192000"/>
                <a:gd name="connsiteY8" fmla="*/ 4700836 h 6858000"/>
                <a:gd name="connsiteX9" fmla="*/ 9450000 w 12192000"/>
                <a:gd name="connsiteY9" fmla="*/ 4700836 h 6858000"/>
                <a:gd name="connsiteX10" fmla="*/ 9450000 w 12192000"/>
                <a:gd name="connsiteY10" fmla="*/ 6858000 h 6858000"/>
                <a:gd name="connsiteX11" fmla="*/ 9144000 w 12192000"/>
                <a:gd name="connsiteY11" fmla="*/ 6858000 h 6858000"/>
                <a:gd name="connsiteX12" fmla="*/ 9144000 w 12192000"/>
                <a:gd name="connsiteY12" fmla="*/ 4700836 h 6858000"/>
                <a:gd name="connsiteX13" fmla="*/ 0 w 12192000"/>
                <a:gd name="connsiteY13" fmla="*/ 4700836 h 6858000"/>
                <a:gd name="connsiteX14" fmla="*/ 0 w 12192000"/>
                <a:gd name="connsiteY14" fmla="*/ 4394836 h 6858000"/>
                <a:gd name="connsiteX15" fmla="*/ 9144000 w 12192000"/>
                <a:gd name="connsiteY15" fmla="*/ 4394836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6858000">
                  <a:moveTo>
                    <a:pt x="9144000" y="0"/>
                  </a:moveTo>
                  <a:lnTo>
                    <a:pt x="9450000" y="0"/>
                  </a:lnTo>
                  <a:lnTo>
                    <a:pt x="9450000" y="1022986"/>
                  </a:lnTo>
                  <a:lnTo>
                    <a:pt x="12192000" y="1022986"/>
                  </a:lnTo>
                  <a:lnTo>
                    <a:pt x="12192000" y="1328986"/>
                  </a:lnTo>
                  <a:lnTo>
                    <a:pt x="9450000" y="1328986"/>
                  </a:lnTo>
                  <a:lnTo>
                    <a:pt x="9450000" y="4394836"/>
                  </a:lnTo>
                  <a:lnTo>
                    <a:pt x="12192000" y="4394836"/>
                  </a:lnTo>
                  <a:lnTo>
                    <a:pt x="12192000" y="4700836"/>
                  </a:lnTo>
                  <a:lnTo>
                    <a:pt x="9450000" y="4700836"/>
                  </a:lnTo>
                  <a:lnTo>
                    <a:pt x="9450000" y="6858000"/>
                  </a:lnTo>
                  <a:lnTo>
                    <a:pt x="9144000" y="6858000"/>
                  </a:lnTo>
                  <a:lnTo>
                    <a:pt x="9144000" y="4700836"/>
                  </a:lnTo>
                  <a:lnTo>
                    <a:pt x="0" y="4700836"/>
                  </a:lnTo>
                  <a:lnTo>
                    <a:pt x="0" y="4394836"/>
                  </a:lnTo>
                  <a:lnTo>
                    <a:pt x="9144000" y="439483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/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A1A41927-8102-0140-8A6E-BE11E9B2A3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8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2" y="428625"/>
            <a:ext cx="7418388" cy="2771775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3" y="3394710"/>
            <a:ext cx="5473700" cy="70484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19742372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go Shap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86E1CB07-AAEA-314E-A423-4B23728F27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5103159" y="-1"/>
            <a:ext cx="7088841" cy="6858001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5065365-ACD4-4445-B744-F720FB8FF28C}"/>
              </a:ext>
            </a:extLst>
          </p:cNvPr>
          <p:cNvGrpSpPr/>
          <p:nvPr userDrawn="1"/>
        </p:nvGrpSpPr>
        <p:grpSpPr>
          <a:xfrm>
            <a:off x="0" y="0"/>
            <a:ext cx="8914102" cy="6858001"/>
            <a:chOff x="0" y="0"/>
            <a:chExt cx="8914102" cy="685800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D02960CE-3ED9-3D49-BEB3-63CD70439705}"/>
                </a:ext>
              </a:extLst>
            </p:cNvPr>
            <p:cNvSpPr/>
            <p:nvPr userDrawn="1"/>
          </p:nvSpPr>
          <p:spPr bwMode="white">
            <a:xfrm>
              <a:off x="0" y="0"/>
              <a:ext cx="8914102" cy="6858001"/>
            </a:xfrm>
            <a:custGeom>
              <a:avLst/>
              <a:gdLst>
                <a:gd name="connsiteX0" fmla="*/ 1260764 w 8914102"/>
                <a:gd name="connsiteY0" fmla="*/ 0 h 6858001"/>
                <a:gd name="connsiteX1" fmla="*/ 5169189 w 8914102"/>
                <a:gd name="connsiteY1" fmla="*/ 0 h 6858001"/>
                <a:gd name="connsiteX2" fmla="*/ 5169189 w 8914102"/>
                <a:gd name="connsiteY2" fmla="*/ 765175 h 6858001"/>
                <a:gd name="connsiteX3" fmla="*/ 5937540 w 8914102"/>
                <a:gd name="connsiteY3" fmla="*/ 765175 h 6858001"/>
                <a:gd name="connsiteX4" fmla="*/ 5937540 w 8914102"/>
                <a:gd name="connsiteY4" fmla="*/ 1957388 h 6858001"/>
                <a:gd name="connsiteX5" fmla="*/ 7920327 w 8914102"/>
                <a:gd name="connsiteY5" fmla="*/ 1957388 h 6858001"/>
                <a:gd name="connsiteX6" fmla="*/ 7920327 w 8914102"/>
                <a:gd name="connsiteY6" fmla="*/ 4899025 h 6858001"/>
                <a:gd name="connsiteX7" fmla="*/ 8914102 w 8914102"/>
                <a:gd name="connsiteY7" fmla="*/ 4899025 h 6858001"/>
                <a:gd name="connsiteX8" fmla="*/ 8914102 w 8914102"/>
                <a:gd name="connsiteY8" fmla="*/ 6858000 h 6858001"/>
                <a:gd name="connsiteX9" fmla="*/ 7920327 w 8914102"/>
                <a:gd name="connsiteY9" fmla="*/ 6858000 h 6858001"/>
                <a:gd name="connsiteX10" fmla="*/ 5937540 w 8914102"/>
                <a:gd name="connsiteY10" fmla="*/ 6858000 h 6858001"/>
                <a:gd name="connsiteX11" fmla="*/ 5169189 w 8914102"/>
                <a:gd name="connsiteY11" fmla="*/ 6858000 h 6858001"/>
                <a:gd name="connsiteX12" fmla="*/ 3705515 w 8914102"/>
                <a:gd name="connsiteY12" fmla="*/ 6858000 h 6858001"/>
                <a:gd name="connsiteX13" fmla="*/ 1260764 w 8914102"/>
                <a:gd name="connsiteY13" fmla="*/ 6858000 h 6858001"/>
                <a:gd name="connsiteX14" fmla="*/ 1260764 w 8914102"/>
                <a:gd name="connsiteY14" fmla="*/ 6858001 h 6858001"/>
                <a:gd name="connsiteX15" fmla="*/ 0 w 8914102"/>
                <a:gd name="connsiteY15" fmla="*/ 6858001 h 6858001"/>
                <a:gd name="connsiteX16" fmla="*/ 0 w 8914102"/>
                <a:gd name="connsiteY16" fmla="*/ 1 h 6858001"/>
                <a:gd name="connsiteX17" fmla="*/ 1260764 w 8914102"/>
                <a:gd name="connsiteY17" fmla="*/ 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14102" h="6858001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D04A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89B02B9A-C678-D74D-B142-58CA492CDC0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3" y="1003610"/>
            <a:ext cx="5258640" cy="2425391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4" y="3764282"/>
            <a:ext cx="5258640" cy="70484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6958671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go Shap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19130D55-E01B-814B-B368-1A5B9D92249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5103158" y="0"/>
            <a:ext cx="7088841" cy="6858001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7BE733A-F034-2C46-AB70-A0813595ECD7}"/>
              </a:ext>
            </a:extLst>
          </p:cNvPr>
          <p:cNvGrpSpPr/>
          <p:nvPr userDrawn="1"/>
        </p:nvGrpSpPr>
        <p:grpSpPr>
          <a:xfrm>
            <a:off x="0" y="0"/>
            <a:ext cx="8914102" cy="6858001"/>
            <a:chOff x="0" y="0"/>
            <a:chExt cx="8914102" cy="685800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D02960CE-3ED9-3D49-BEB3-63CD70439705}"/>
                </a:ext>
              </a:extLst>
            </p:cNvPr>
            <p:cNvSpPr/>
            <p:nvPr userDrawn="1"/>
          </p:nvSpPr>
          <p:spPr bwMode="white">
            <a:xfrm>
              <a:off x="0" y="0"/>
              <a:ext cx="8914102" cy="6858001"/>
            </a:xfrm>
            <a:custGeom>
              <a:avLst/>
              <a:gdLst>
                <a:gd name="connsiteX0" fmla="*/ 1260764 w 8914102"/>
                <a:gd name="connsiteY0" fmla="*/ 0 h 6858001"/>
                <a:gd name="connsiteX1" fmla="*/ 5169189 w 8914102"/>
                <a:gd name="connsiteY1" fmla="*/ 0 h 6858001"/>
                <a:gd name="connsiteX2" fmla="*/ 5169189 w 8914102"/>
                <a:gd name="connsiteY2" fmla="*/ 765175 h 6858001"/>
                <a:gd name="connsiteX3" fmla="*/ 5937540 w 8914102"/>
                <a:gd name="connsiteY3" fmla="*/ 765175 h 6858001"/>
                <a:gd name="connsiteX4" fmla="*/ 5937540 w 8914102"/>
                <a:gd name="connsiteY4" fmla="*/ 1957388 h 6858001"/>
                <a:gd name="connsiteX5" fmla="*/ 7920327 w 8914102"/>
                <a:gd name="connsiteY5" fmla="*/ 1957388 h 6858001"/>
                <a:gd name="connsiteX6" fmla="*/ 7920327 w 8914102"/>
                <a:gd name="connsiteY6" fmla="*/ 4899025 h 6858001"/>
                <a:gd name="connsiteX7" fmla="*/ 8914102 w 8914102"/>
                <a:gd name="connsiteY7" fmla="*/ 4899025 h 6858001"/>
                <a:gd name="connsiteX8" fmla="*/ 8914102 w 8914102"/>
                <a:gd name="connsiteY8" fmla="*/ 6858000 h 6858001"/>
                <a:gd name="connsiteX9" fmla="*/ 7920327 w 8914102"/>
                <a:gd name="connsiteY9" fmla="*/ 6858000 h 6858001"/>
                <a:gd name="connsiteX10" fmla="*/ 5937540 w 8914102"/>
                <a:gd name="connsiteY10" fmla="*/ 6858000 h 6858001"/>
                <a:gd name="connsiteX11" fmla="*/ 5169189 w 8914102"/>
                <a:gd name="connsiteY11" fmla="*/ 6858000 h 6858001"/>
                <a:gd name="connsiteX12" fmla="*/ 3705515 w 8914102"/>
                <a:gd name="connsiteY12" fmla="*/ 6858000 h 6858001"/>
                <a:gd name="connsiteX13" fmla="*/ 1260764 w 8914102"/>
                <a:gd name="connsiteY13" fmla="*/ 6858000 h 6858001"/>
                <a:gd name="connsiteX14" fmla="*/ 1260764 w 8914102"/>
                <a:gd name="connsiteY14" fmla="*/ 6858001 h 6858001"/>
                <a:gd name="connsiteX15" fmla="*/ 0 w 8914102"/>
                <a:gd name="connsiteY15" fmla="*/ 6858001 h 6858001"/>
                <a:gd name="connsiteX16" fmla="*/ 0 w 8914102"/>
                <a:gd name="connsiteY16" fmla="*/ 1 h 6858001"/>
                <a:gd name="connsiteX17" fmla="*/ 1260764 w 8914102"/>
                <a:gd name="connsiteY17" fmla="*/ 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14102" h="6858001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E030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D80AA576-2E0A-D146-9C52-8C67B6E45DE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3" y="1003610"/>
            <a:ext cx="5258640" cy="2425391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4" y="3764282"/>
            <a:ext cx="5258640" cy="70484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13434624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go Shape R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2504B055-84E9-A34C-9FA5-3A4898E3B2D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5103158" y="0"/>
            <a:ext cx="7088841" cy="6858000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1675EB2-67BA-8341-AFDE-B097C16A2531}"/>
              </a:ext>
            </a:extLst>
          </p:cNvPr>
          <p:cNvGrpSpPr/>
          <p:nvPr userDrawn="1"/>
        </p:nvGrpSpPr>
        <p:grpSpPr>
          <a:xfrm>
            <a:off x="0" y="0"/>
            <a:ext cx="8914102" cy="6858001"/>
            <a:chOff x="0" y="0"/>
            <a:chExt cx="8914102" cy="685800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D02960CE-3ED9-3D49-BEB3-63CD70439705}"/>
                </a:ext>
              </a:extLst>
            </p:cNvPr>
            <p:cNvSpPr/>
            <p:nvPr userDrawn="1"/>
          </p:nvSpPr>
          <p:spPr bwMode="white">
            <a:xfrm>
              <a:off x="0" y="0"/>
              <a:ext cx="8914102" cy="6858001"/>
            </a:xfrm>
            <a:custGeom>
              <a:avLst/>
              <a:gdLst>
                <a:gd name="connsiteX0" fmla="*/ 1260764 w 8914102"/>
                <a:gd name="connsiteY0" fmla="*/ 0 h 6858001"/>
                <a:gd name="connsiteX1" fmla="*/ 5169189 w 8914102"/>
                <a:gd name="connsiteY1" fmla="*/ 0 h 6858001"/>
                <a:gd name="connsiteX2" fmla="*/ 5169189 w 8914102"/>
                <a:gd name="connsiteY2" fmla="*/ 765175 h 6858001"/>
                <a:gd name="connsiteX3" fmla="*/ 5937540 w 8914102"/>
                <a:gd name="connsiteY3" fmla="*/ 765175 h 6858001"/>
                <a:gd name="connsiteX4" fmla="*/ 5937540 w 8914102"/>
                <a:gd name="connsiteY4" fmla="*/ 1957388 h 6858001"/>
                <a:gd name="connsiteX5" fmla="*/ 7920327 w 8914102"/>
                <a:gd name="connsiteY5" fmla="*/ 1957388 h 6858001"/>
                <a:gd name="connsiteX6" fmla="*/ 7920327 w 8914102"/>
                <a:gd name="connsiteY6" fmla="*/ 4899025 h 6858001"/>
                <a:gd name="connsiteX7" fmla="*/ 8914102 w 8914102"/>
                <a:gd name="connsiteY7" fmla="*/ 4899025 h 6858001"/>
                <a:gd name="connsiteX8" fmla="*/ 8914102 w 8914102"/>
                <a:gd name="connsiteY8" fmla="*/ 6858000 h 6858001"/>
                <a:gd name="connsiteX9" fmla="*/ 7920327 w 8914102"/>
                <a:gd name="connsiteY9" fmla="*/ 6858000 h 6858001"/>
                <a:gd name="connsiteX10" fmla="*/ 5937540 w 8914102"/>
                <a:gd name="connsiteY10" fmla="*/ 6858000 h 6858001"/>
                <a:gd name="connsiteX11" fmla="*/ 5169189 w 8914102"/>
                <a:gd name="connsiteY11" fmla="*/ 6858000 h 6858001"/>
                <a:gd name="connsiteX12" fmla="*/ 3705515 w 8914102"/>
                <a:gd name="connsiteY12" fmla="*/ 6858000 h 6858001"/>
                <a:gd name="connsiteX13" fmla="*/ 1260764 w 8914102"/>
                <a:gd name="connsiteY13" fmla="*/ 6858000 h 6858001"/>
                <a:gd name="connsiteX14" fmla="*/ 1260764 w 8914102"/>
                <a:gd name="connsiteY14" fmla="*/ 6858001 h 6858001"/>
                <a:gd name="connsiteX15" fmla="*/ 0 w 8914102"/>
                <a:gd name="connsiteY15" fmla="*/ 6858001 h 6858001"/>
                <a:gd name="connsiteX16" fmla="*/ 0 w 8914102"/>
                <a:gd name="connsiteY16" fmla="*/ 1 h 6858001"/>
                <a:gd name="connsiteX17" fmla="*/ 1260764 w 8914102"/>
                <a:gd name="connsiteY17" fmla="*/ 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14102" h="6858001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DB53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20A64D3-5A58-A74D-827A-3B01DDFF5E0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3" y="1009185"/>
            <a:ext cx="5258640" cy="2419816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4" y="3764282"/>
            <a:ext cx="5258640" cy="70484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35871344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go Shap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B147A814-53FE-0143-93DA-6302106438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5103159" y="0"/>
            <a:ext cx="7088841" cy="6858000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9670607-F478-BE4E-8608-89949C7D5279}"/>
              </a:ext>
            </a:extLst>
          </p:cNvPr>
          <p:cNvGrpSpPr/>
          <p:nvPr userDrawn="1"/>
        </p:nvGrpSpPr>
        <p:grpSpPr>
          <a:xfrm>
            <a:off x="0" y="0"/>
            <a:ext cx="8914102" cy="6858001"/>
            <a:chOff x="0" y="0"/>
            <a:chExt cx="8914102" cy="685800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D02960CE-3ED9-3D49-BEB3-63CD70439705}"/>
                </a:ext>
              </a:extLst>
            </p:cNvPr>
            <p:cNvSpPr/>
            <p:nvPr userDrawn="1"/>
          </p:nvSpPr>
          <p:spPr bwMode="white">
            <a:xfrm>
              <a:off x="0" y="0"/>
              <a:ext cx="8914102" cy="6858001"/>
            </a:xfrm>
            <a:custGeom>
              <a:avLst/>
              <a:gdLst>
                <a:gd name="connsiteX0" fmla="*/ 1260764 w 8914102"/>
                <a:gd name="connsiteY0" fmla="*/ 0 h 6858001"/>
                <a:gd name="connsiteX1" fmla="*/ 5169189 w 8914102"/>
                <a:gd name="connsiteY1" fmla="*/ 0 h 6858001"/>
                <a:gd name="connsiteX2" fmla="*/ 5169189 w 8914102"/>
                <a:gd name="connsiteY2" fmla="*/ 765175 h 6858001"/>
                <a:gd name="connsiteX3" fmla="*/ 5937540 w 8914102"/>
                <a:gd name="connsiteY3" fmla="*/ 765175 h 6858001"/>
                <a:gd name="connsiteX4" fmla="*/ 5937540 w 8914102"/>
                <a:gd name="connsiteY4" fmla="*/ 1957388 h 6858001"/>
                <a:gd name="connsiteX5" fmla="*/ 7920327 w 8914102"/>
                <a:gd name="connsiteY5" fmla="*/ 1957388 h 6858001"/>
                <a:gd name="connsiteX6" fmla="*/ 7920327 w 8914102"/>
                <a:gd name="connsiteY6" fmla="*/ 4899025 h 6858001"/>
                <a:gd name="connsiteX7" fmla="*/ 8914102 w 8914102"/>
                <a:gd name="connsiteY7" fmla="*/ 4899025 h 6858001"/>
                <a:gd name="connsiteX8" fmla="*/ 8914102 w 8914102"/>
                <a:gd name="connsiteY8" fmla="*/ 6858000 h 6858001"/>
                <a:gd name="connsiteX9" fmla="*/ 7920327 w 8914102"/>
                <a:gd name="connsiteY9" fmla="*/ 6858000 h 6858001"/>
                <a:gd name="connsiteX10" fmla="*/ 5937540 w 8914102"/>
                <a:gd name="connsiteY10" fmla="*/ 6858000 h 6858001"/>
                <a:gd name="connsiteX11" fmla="*/ 5169189 w 8914102"/>
                <a:gd name="connsiteY11" fmla="*/ 6858000 h 6858001"/>
                <a:gd name="connsiteX12" fmla="*/ 3705515 w 8914102"/>
                <a:gd name="connsiteY12" fmla="*/ 6858000 h 6858001"/>
                <a:gd name="connsiteX13" fmla="*/ 1260764 w 8914102"/>
                <a:gd name="connsiteY13" fmla="*/ 6858000 h 6858001"/>
                <a:gd name="connsiteX14" fmla="*/ 1260764 w 8914102"/>
                <a:gd name="connsiteY14" fmla="*/ 6858001 h 6858001"/>
                <a:gd name="connsiteX15" fmla="*/ 0 w 8914102"/>
                <a:gd name="connsiteY15" fmla="*/ 6858001 h 6858001"/>
                <a:gd name="connsiteX16" fmla="*/ 0 w 8914102"/>
                <a:gd name="connsiteY16" fmla="*/ 1 h 6858001"/>
                <a:gd name="connsiteX17" fmla="*/ 1260764 w 8914102"/>
                <a:gd name="connsiteY17" fmla="*/ 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14102" h="6858001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3C790A76-DC9A-CA48-8F96-B38E81026F9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3" y="1009185"/>
            <a:ext cx="5258640" cy="2419816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4" y="3764282"/>
            <a:ext cx="5258640" cy="70484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33951839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D6C4682-7C6E-42E5-8EF0-99CD7726177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pl-PL" sz="32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1665489"/>
            <a:ext cx="5115915" cy="49244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pl-PL" dirty="0"/>
              <a:t>[Action </a:t>
            </a:r>
            <a:r>
              <a:rPr lang="pl-PL" dirty="0" err="1"/>
              <a:t>title</a:t>
            </a:r>
            <a:r>
              <a:rPr lang="pl-PL" dirty="0"/>
              <a:t>]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750E3-3DF6-B94E-959B-C6E962A30C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51C74AF-BB88-4AC6-B403-AD86DE435F43}"/>
              </a:ext>
            </a:extLst>
          </p:cNvPr>
          <p:cNvSpPr/>
          <p:nvPr userDrawn="1"/>
        </p:nvSpPr>
        <p:spPr>
          <a:xfrm>
            <a:off x="5893806" y="0"/>
            <a:ext cx="6298194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pl-PL" sz="1600"/>
          </a:p>
        </p:txBody>
      </p:sp>
      <p:pic>
        <p:nvPicPr>
          <p:cNvPr id="6154" name="Picture 10">
            <a:extLst>
              <a:ext uri="{FF2B5EF4-FFF2-40B4-BE49-F238E27FC236}">
                <a16:creationId xmlns:a16="http://schemas.microsoft.com/office/drawing/2014/main" id="{99CA9BA7-FAE9-4B28-ACD9-CAF08433DA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921705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5334000" y="0"/>
            <a:ext cx="6858000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4" y="750888"/>
            <a:ext cx="4675186" cy="2678112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3" y="3956185"/>
            <a:ext cx="4675187" cy="70484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9pPr>
          </a:lstStyle>
          <a:p>
            <a:r>
              <a:rPr lang="en-US" dirty="0"/>
              <a:t>[Presentation subtitle]</a:t>
            </a:r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722A556-B0A2-E74A-B3E1-08C0F432C2D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85139" y="5330952"/>
            <a:ext cx="1636776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85740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1"/>
            <a:ext cx="11306175" cy="99039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[</a:t>
            </a:r>
            <a:r>
              <a:rPr lang="pl-PL" dirty="0"/>
              <a:t>Action </a:t>
            </a:r>
            <a:r>
              <a:rPr lang="en-US" dirty="0"/>
              <a:t>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750E3-3DF6-B94E-959B-C6E962A30C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158836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D4456FC-B230-4967-8B6D-EDE85EA4AE5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pl-PL" sz="32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1"/>
            <a:ext cx="7258050" cy="99039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[</a:t>
            </a:r>
            <a:r>
              <a:rPr lang="pl-PL" dirty="0"/>
              <a:t>Action </a:t>
            </a:r>
            <a:r>
              <a:rPr lang="en-US" dirty="0"/>
              <a:t>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750E3-3DF6-B94E-959B-C6E962A30C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135674C0-31B1-4F01-91FD-4C1D2824F21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958619" y="0"/>
            <a:ext cx="4233381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19464" name="Picture 8">
            <a:extLst>
              <a:ext uri="{FF2B5EF4-FFF2-40B4-BE49-F238E27FC236}">
                <a16:creationId xmlns:a16="http://schemas.microsoft.com/office/drawing/2014/main" id="{E8A3088E-2D5B-4373-BC65-C68AE7147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155026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1"/>
            <a:ext cx="11306175" cy="492443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 dirty="0"/>
              <a:t>[</a:t>
            </a:r>
            <a:r>
              <a:rPr lang="pl-PL" dirty="0"/>
              <a:t>Action</a:t>
            </a:r>
            <a:r>
              <a:rPr lang="en-US" dirty="0"/>
              <a:t>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750E3-3DF6-B94E-959B-C6E962A30C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06D22B17-E9E9-3842-A116-5C0D59C56C8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1052299"/>
            <a:ext cx="11306176" cy="369332"/>
          </a:xfr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</a:t>
            </a:r>
            <a:r>
              <a:rPr lang="pl-PL" dirty="0"/>
              <a:t>S</a:t>
            </a:r>
            <a:r>
              <a:rPr lang="en-US" dirty="0" err="1"/>
              <a:t>ubtitle</a:t>
            </a:r>
            <a:r>
              <a:rPr lang="en-US" dirty="0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299423690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1"/>
            <a:ext cx="11306175" cy="492443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 dirty="0"/>
              <a:t>[</a:t>
            </a:r>
            <a:r>
              <a:rPr lang="pl-PL" dirty="0"/>
              <a:t>Action</a:t>
            </a:r>
            <a:r>
              <a:rPr lang="en-US" dirty="0"/>
              <a:t>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750E3-3DF6-B94E-959B-C6E962A30C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06D22B17-E9E9-3842-A116-5C0D59C56C8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1052299"/>
            <a:ext cx="11306176" cy="369332"/>
          </a:xfr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</a:t>
            </a:r>
            <a:r>
              <a:rPr lang="pl-PL" dirty="0"/>
              <a:t>S</a:t>
            </a:r>
            <a:r>
              <a:rPr lang="en-US" dirty="0" err="1"/>
              <a:t>ubtitle</a:t>
            </a:r>
            <a:r>
              <a:rPr lang="en-US" dirty="0"/>
              <a:t>]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42913" y="6228792"/>
            <a:ext cx="11306175" cy="115416"/>
          </a:xfrm>
        </p:spPr>
        <p:txBody>
          <a:bodyPr anchor="b">
            <a:spAutoFit/>
          </a:bodyPr>
          <a:lstStyle>
            <a:lvl1pPr>
              <a:spcAft>
                <a:spcPts val="0"/>
              </a:spcAft>
              <a:defRPr sz="750" b="0">
                <a:solidFill>
                  <a:schemeClr val="tx1"/>
                </a:solidFill>
              </a:defRPr>
            </a:lvl1pPr>
            <a:lvl2pPr>
              <a:defRPr sz="750">
                <a:solidFill>
                  <a:schemeClr val="tx1"/>
                </a:solidFill>
              </a:defRPr>
            </a:lvl2pPr>
            <a:lvl3pPr>
              <a:defRPr sz="750">
                <a:solidFill>
                  <a:schemeClr val="tx1"/>
                </a:solidFill>
              </a:defRPr>
            </a:lvl3pPr>
            <a:lvl4pPr>
              <a:defRPr sz="750">
                <a:solidFill>
                  <a:schemeClr val="tx1"/>
                </a:solidFill>
              </a:defRPr>
            </a:lvl4pPr>
            <a:lvl5pPr>
              <a:defRPr sz="750">
                <a:solidFill>
                  <a:schemeClr val="tx1"/>
                </a:solidFill>
              </a:defRPr>
            </a:lvl5pPr>
          </a:lstStyle>
          <a:p>
            <a:pPr lvl="0"/>
            <a:r>
              <a:rPr lang="pl-PL" dirty="0"/>
              <a:t>Source: </a:t>
            </a:r>
            <a:endParaRPr lang="en-US" dirty="0"/>
          </a:p>
        </p:txBody>
      </p:sp>
      <p:pic>
        <p:nvPicPr>
          <p:cNvPr id="2075" name="Picture 27">
            <a:extLst>
              <a:ext uri="{FF2B5EF4-FFF2-40B4-BE49-F238E27FC236}">
                <a16:creationId xmlns:a16="http://schemas.microsoft.com/office/drawing/2014/main" id="{6BB6D469-209A-4615-9781-D4514DF607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486398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ulaRa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750E3-3DF6-B94E-959B-C6E962A30C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480042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1"/>
            <a:ext cx="5221287" cy="49244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</a:t>
            </a:r>
            <a:r>
              <a:rPr lang="pl-PL" dirty="0"/>
              <a:t>Action</a:t>
            </a:r>
            <a:r>
              <a:rPr lang="en-US" dirty="0"/>
              <a:t>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536595-57B2-5848-8E3C-E2D5B4D0F21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Date Placeholder 3"/>
          <p:cNvSpPr txBox="1">
            <a:spLocks/>
          </p:cNvSpPr>
          <p:nvPr userDrawn="1"/>
        </p:nvSpPr>
        <p:spPr>
          <a:xfrm>
            <a:off x="8218488" y="6400800"/>
            <a:ext cx="2942431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Proprietary and confidential. Do not distribute.</a:t>
            </a:r>
          </a:p>
        </p:txBody>
      </p:sp>
    </p:spTree>
    <p:extLst>
      <p:ext uri="{BB962C8B-B14F-4D97-AF65-F5344CB8AC3E}">
        <p14:creationId xmlns:p14="http://schemas.microsoft.com/office/powerpoint/2010/main" val="316238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568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a la Digi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-1" y="0"/>
            <a:ext cx="4233381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6246" y="432001"/>
            <a:ext cx="7072842" cy="9903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</a:t>
            </a:r>
            <a:r>
              <a:rPr lang="pl-PL" dirty="0"/>
              <a:t>Action</a:t>
            </a:r>
            <a:r>
              <a:rPr lang="en-US" dirty="0"/>
              <a:t>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536595-57B2-5848-8E3C-E2D5B4D0F21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442913" y="6400798"/>
            <a:ext cx="30480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GB" sz="750" b="1" dirty="0">
                <a:solidFill>
                  <a:schemeClr val="bg1"/>
                </a:solidFill>
              </a:rPr>
              <a:t>PwC</a:t>
            </a:r>
            <a:endParaRPr lang="en-GB" sz="750" b="0" dirty="0">
              <a:solidFill>
                <a:schemeClr val="bg1"/>
              </a:solidFill>
            </a:endParaRPr>
          </a:p>
        </p:txBody>
      </p:sp>
      <p:pic>
        <p:nvPicPr>
          <p:cNvPr id="3098" name="Picture 26">
            <a:extLst>
              <a:ext uri="{FF2B5EF4-FFF2-40B4-BE49-F238E27FC236}">
                <a16:creationId xmlns:a16="http://schemas.microsoft.com/office/drawing/2014/main" id="{54D07FF6-EEDE-41A9-99A0-BF347CC2E9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491708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4" userDrawn="1">
          <p15:clr>
            <a:srgbClr val="FBAE40"/>
          </p15:clr>
        </p15:guide>
        <p15:guide id="2" pos="267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a la Digital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-1" y="0"/>
            <a:ext cx="4233381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6246" y="432001"/>
            <a:ext cx="7072842" cy="49244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</a:t>
            </a:r>
            <a:r>
              <a:rPr lang="pl-PL" dirty="0"/>
              <a:t>Action</a:t>
            </a:r>
            <a:r>
              <a:rPr lang="en-US" dirty="0"/>
              <a:t>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536595-57B2-5848-8E3C-E2D5B4D0F21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06D22B17-E9E9-3842-A116-5C0D59C56C8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676246" y="1052299"/>
            <a:ext cx="7072842" cy="369332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</a:t>
            </a:r>
            <a:r>
              <a:rPr lang="pl-PL" dirty="0"/>
              <a:t>S</a:t>
            </a:r>
            <a:r>
              <a:rPr lang="en-US" dirty="0" err="1"/>
              <a:t>ubtitle</a:t>
            </a:r>
            <a:r>
              <a:rPr lang="en-US" dirty="0"/>
              <a:t>]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442913" y="6400798"/>
            <a:ext cx="30480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GB" sz="750" b="1" dirty="0">
                <a:solidFill>
                  <a:schemeClr val="bg1"/>
                </a:solidFill>
              </a:rPr>
              <a:t>PwC</a:t>
            </a:r>
            <a:endParaRPr lang="en-GB" sz="750" b="0" dirty="0">
              <a:solidFill>
                <a:schemeClr val="bg1"/>
              </a:solidFill>
            </a:endParaRPr>
          </a:p>
        </p:txBody>
      </p:sp>
      <p:pic>
        <p:nvPicPr>
          <p:cNvPr id="4122" name="Picture 26">
            <a:extLst>
              <a:ext uri="{FF2B5EF4-FFF2-40B4-BE49-F238E27FC236}">
                <a16:creationId xmlns:a16="http://schemas.microsoft.com/office/drawing/2014/main" id="{0AAAEEB8-1F01-420F-89EF-513CAA244F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9183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4">
          <p15:clr>
            <a:srgbClr val="FBAE40"/>
          </p15:clr>
        </p15:guide>
        <p15:guide id="2" pos="2674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hidden">
          <a:xfrm>
            <a:off x="0" y="1665288"/>
            <a:ext cx="3971925" cy="4506912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4" y="1929924"/>
            <a:ext cx="3328986" cy="1737360"/>
          </a:xfrm>
        </p:spPr>
        <p:txBody>
          <a:bodyPr tIns="0" bIns="0" anchor="t" anchorCtr="0"/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2700" b="1" spc="-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3931920"/>
            <a:ext cx="3328986" cy="206178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bg1"/>
                </a:solidFill>
              </a:defRPr>
            </a:lvl1pPr>
            <a:lvl2pPr marL="18288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2pPr>
            <a:lvl3pPr marL="36576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>
                <a:solidFill>
                  <a:schemeClr val="bg1"/>
                </a:solidFill>
              </a:defRPr>
            </a:lvl3pPr>
            <a:lvl4pPr marL="54864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4pPr>
            <a:lvl5pPr marL="73152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>
                <a:solidFill>
                  <a:schemeClr val="bg1"/>
                </a:solidFill>
              </a:defRPr>
            </a:lvl5pPr>
            <a:lvl6pPr marL="914400" indent="-182880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6pPr>
            <a:lvl7pPr marL="1097280" indent="-182880">
              <a:spcBef>
                <a:spcPts val="0"/>
              </a:spcBef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7pPr>
            <a:lvl8pPr marL="1280160" indent="-182880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8pPr>
            <a:lvl9pPr marL="1463040" indent="-182880">
              <a:spcBef>
                <a:spcPts val="0"/>
              </a:spcBef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4327525" y="1665288"/>
            <a:ext cx="7421563" cy="4506911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42913" y="432001"/>
            <a:ext cx="11306175" cy="9903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</a:t>
            </a:r>
            <a:r>
              <a:rPr lang="pl-PL" dirty="0"/>
              <a:t>Action</a:t>
            </a:r>
            <a:r>
              <a:rPr lang="en-US" dirty="0"/>
              <a:t>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6E2E86-965C-BE4A-BDD2-8C3B0C7986E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444185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D6C4682-7C6E-42E5-8EF0-99CD7726177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pl-PL" sz="32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1"/>
            <a:ext cx="5115915" cy="49244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pl-PL"/>
              <a:t>[Action title]</a:t>
            </a:r>
            <a:endParaRPr lang="pl-PL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750E3-3DF6-B94E-959B-C6E962A30C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51C74AF-BB88-4AC6-B403-AD86DE435F43}"/>
              </a:ext>
            </a:extLst>
          </p:cNvPr>
          <p:cNvSpPr/>
          <p:nvPr userDrawn="1"/>
        </p:nvSpPr>
        <p:spPr>
          <a:xfrm>
            <a:off x="5893806" y="0"/>
            <a:ext cx="6298194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pl-PL" sz="1600"/>
          </a:p>
        </p:txBody>
      </p:sp>
      <p:pic>
        <p:nvPicPr>
          <p:cNvPr id="7178" name="Picture 10">
            <a:extLst>
              <a:ext uri="{FF2B5EF4-FFF2-40B4-BE49-F238E27FC236}">
                <a16:creationId xmlns:a16="http://schemas.microsoft.com/office/drawing/2014/main" id="{DDD6CDAE-7D25-4186-AFD9-30B1E3052F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1785328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3247190"/>
            <a:ext cx="3529012" cy="293040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accent3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1665288"/>
            <a:ext cx="3529012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4327524" y="1665288"/>
            <a:ext cx="3533775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8222571" y="1665288"/>
            <a:ext cx="3529012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42913" y="432001"/>
            <a:ext cx="11306175" cy="98488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</a:t>
            </a:r>
            <a:r>
              <a:rPr lang="pl-PL" dirty="0"/>
              <a:t>Action</a:t>
            </a:r>
            <a:r>
              <a:rPr lang="en-US" dirty="0"/>
              <a:t> title]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C21E25-BA96-8149-8793-205BDC26358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904FBFED-85D0-8C43-84C6-BADD19241EDC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4327525" y="3247190"/>
            <a:ext cx="3533775" cy="293040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7D43B0B-6C29-D449-BC95-219F98DA27E0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8222571" y="3247190"/>
            <a:ext cx="3529012" cy="293040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663518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Title onl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42913" y="432001"/>
            <a:ext cx="11306175" cy="99039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</a:t>
            </a:r>
            <a:r>
              <a:rPr lang="pl-PL" dirty="0"/>
              <a:t>Action</a:t>
            </a:r>
            <a:r>
              <a:rPr lang="en-US" dirty="0"/>
              <a:t>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822021-BC47-254A-91DB-E7B302B285F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4515ED1-193B-074D-A589-B9E109B66EF5}"/>
              </a:ext>
            </a:extLst>
          </p:cNvPr>
          <p:cNvSpPr txBox="1"/>
          <p:nvPr userDrawn="1"/>
        </p:nvSpPr>
        <p:spPr>
          <a:xfrm>
            <a:off x="442913" y="6400798"/>
            <a:ext cx="30480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GB" sz="750" b="1" dirty="0">
                <a:solidFill>
                  <a:schemeClr val="bg1"/>
                </a:solidFill>
              </a:rPr>
              <a:t>PwC</a:t>
            </a:r>
            <a:endParaRPr lang="en-GB" sz="750" b="0" dirty="0">
              <a:solidFill>
                <a:schemeClr val="bg1"/>
              </a:solidFill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831534C-AB01-CB43-A35D-E0D0313F087A}"/>
              </a:ext>
            </a:extLst>
          </p:cNvPr>
          <p:cNvSpPr txBox="1">
            <a:spLocks/>
          </p:cNvSpPr>
          <p:nvPr userDrawn="1"/>
        </p:nvSpPr>
        <p:spPr>
          <a:xfrm>
            <a:off x="8218488" y="6400800"/>
            <a:ext cx="2942431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Proprietary and confidential. Do not distribute.</a:t>
            </a:r>
          </a:p>
        </p:txBody>
      </p:sp>
    </p:spTree>
    <p:extLst>
      <p:ext uri="{BB962C8B-B14F-4D97-AF65-F5344CB8AC3E}">
        <p14:creationId xmlns:p14="http://schemas.microsoft.com/office/powerpoint/2010/main" val="7677468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Title only with Subtitle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42913" y="432001"/>
            <a:ext cx="11306175" cy="492443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</a:t>
            </a:r>
            <a:r>
              <a:rPr lang="pl-PL" dirty="0"/>
              <a:t>Action</a:t>
            </a:r>
            <a:r>
              <a:rPr lang="en-US" dirty="0"/>
              <a:t>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822021-BC47-254A-91DB-E7B302B285F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4515ED1-193B-074D-A589-B9E109B66EF5}"/>
              </a:ext>
            </a:extLst>
          </p:cNvPr>
          <p:cNvSpPr txBox="1"/>
          <p:nvPr userDrawn="1"/>
        </p:nvSpPr>
        <p:spPr>
          <a:xfrm>
            <a:off x="442913" y="6400798"/>
            <a:ext cx="30480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GB" sz="750" b="1" dirty="0">
                <a:solidFill>
                  <a:schemeClr val="bg1"/>
                </a:solidFill>
              </a:rPr>
              <a:t>PwC</a:t>
            </a:r>
            <a:endParaRPr lang="en-GB" sz="750" b="0" dirty="0">
              <a:solidFill>
                <a:schemeClr val="bg1"/>
              </a:solidFill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831534C-AB01-CB43-A35D-E0D0313F087A}"/>
              </a:ext>
            </a:extLst>
          </p:cNvPr>
          <p:cNvSpPr txBox="1">
            <a:spLocks/>
          </p:cNvSpPr>
          <p:nvPr userDrawn="1"/>
        </p:nvSpPr>
        <p:spPr>
          <a:xfrm>
            <a:off x="8218488" y="6400800"/>
            <a:ext cx="2942431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Proprietary and confidential. Do not distribute.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06D22B17-E9E9-3842-A116-5C0D59C56C8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1052299"/>
            <a:ext cx="11306176" cy="369332"/>
          </a:xfr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bg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</a:t>
            </a:r>
            <a:r>
              <a:rPr lang="pl-PL" dirty="0"/>
              <a:t>S</a:t>
            </a:r>
            <a:r>
              <a:rPr lang="en-US" dirty="0" err="1"/>
              <a:t>ubtitle</a:t>
            </a:r>
            <a:r>
              <a:rPr lang="en-US" dirty="0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36436406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NoAction title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822021-BC47-254A-91DB-E7B302B285F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4515ED1-193B-074D-A589-B9E109B66EF5}"/>
              </a:ext>
            </a:extLst>
          </p:cNvPr>
          <p:cNvSpPr txBox="1"/>
          <p:nvPr userDrawn="1"/>
        </p:nvSpPr>
        <p:spPr>
          <a:xfrm>
            <a:off x="442913" y="6400798"/>
            <a:ext cx="30480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GB" sz="750" b="1" dirty="0">
                <a:solidFill>
                  <a:schemeClr val="bg1"/>
                </a:solidFill>
              </a:rPr>
              <a:t>PwC</a:t>
            </a:r>
            <a:endParaRPr lang="en-GB" sz="750" b="0" dirty="0">
              <a:solidFill>
                <a:schemeClr val="bg1"/>
              </a:solidFill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831534C-AB01-CB43-A35D-E0D0313F087A}"/>
              </a:ext>
            </a:extLst>
          </p:cNvPr>
          <p:cNvSpPr txBox="1">
            <a:spLocks/>
          </p:cNvSpPr>
          <p:nvPr userDrawn="1"/>
        </p:nvSpPr>
        <p:spPr>
          <a:xfrm>
            <a:off x="8218488" y="6400800"/>
            <a:ext cx="2942431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Proprietary and confidential. Do not distribute.</a:t>
            </a:r>
          </a:p>
        </p:txBody>
      </p:sp>
    </p:spTree>
    <p:extLst>
      <p:ext uri="{BB962C8B-B14F-4D97-AF65-F5344CB8AC3E}">
        <p14:creationId xmlns:p14="http://schemas.microsoft.com/office/powerpoint/2010/main" val="27197513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1 Image Full">
    <p:bg>
      <p:bgPr>
        <a:solidFill>
          <a:srgbClr val="DEDE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0" y="1143000"/>
            <a:ext cx="4572000" cy="4572000"/>
          </a:xfrm>
          <a:solidFill>
            <a:srgbClr val="E0301E"/>
          </a:solidFill>
        </p:spPr>
        <p:txBody>
          <a:bodyPr lIns="438912" tIns="1440000" rIns="252000" bIns="180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Font typeface="Arial" panose="020B0604020202020204" pitchFamily="34" charset="0"/>
              <a:buNone/>
              <a:defRPr sz="2600" b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5E9DA768-B963-3547-B650-2E77ED7439D3}"/>
              </a:ext>
            </a:extLst>
          </p:cNvPr>
          <p:cNvSpPr>
            <a:spLocks noChangeAspect="1" noEditPoints="1"/>
          </p:cNvSpPr>
          <p:nvPr userDrawn="1"/>
        </p:nvSpPr>
        <p:spPr bwMode="white">
          <a:xfrm>
            <a:off x="442913" y="1623703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00000"/>
              </a:lnSpc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6EA47A-A519-524E-B3BA-613F4B8FFD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44718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1 Image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3" y="1665288"/>
            <a:ext cx="5299393" cy="45069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EBA5CA3E-5ADF-C84E-8B6D-07C039516DFE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687001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D07CDB-3D5A-144D-891F-76C8EE52CAC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1CBB7F1-AF3C-874C-BE8B-D104DA2E8F83}"/>
              </a:ext>
            </a:extLst>
          </p:cNvPr>
          <p:cNvSpPr txBox="1"/>
          <p:nvPr userDrawn="1"/>
        </p:nvSpPr>
        <p:spPr>
          <a:xfrm>
            <a:off x="442913" y="6400798"/>
            <a:ext cx="30480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GB" sz="750" b="1" dirty="0">
                <a:solidFill>
                  <a:schemeClr val="bg1"/>
                </a:solidFill>
              </a:rPr>
              <a:t>PwC</a:t>
            </a:r>
            <a:endParaRPr lang="en-GB" sz="75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3013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3" y="1665288"/>
            <a:ext cx="5299393" cy="45069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751F50DC-1032-F848-8EFD-503462F6015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42913" y="687001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618CEB-562C-EF47-A905-BA1BD3BB0B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32859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07AD3661-A443-F74F-9528-11F7BA264BF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8B6AD2-D7A1-494A-91CB-06E4CD0D7C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61533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2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753C6A26-069C-C142-8C96-315DE67FAD09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E00FB7D-272D-B945-B988-9D863187CB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56951FF-D80A-B440-AD59-21C8CAD0B09D}"/>
              </a:ext>
            </a:extLst>
          </p:cNvPr>
          <p:cNvSpPr txBox="1"/>
          <p:nvPr userDrawn="1"/>
        </p:nvSpPr>
        <p:spPr>
          <a:xfrm>
            <a:off x="442913" y="6400798"/>
            <a:ext cx="30480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GB" sz="750" b="1" dirty="0">
                <a:solidFill>
                  <a:schemeClr val="bg1"/>
                </a:solidFill>
              </a:rPr>
              <a:t>PwC</a:t>
            </a:r>
            <a:endParaRPr lang="en-GB" sz="750" b="0" dirty="0">
              <a:solidFill>
                <a:schemeClr val="bg1"/>
              </a:solidFill>
            </a:endParaRP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F2B484D-0DB3-F141-89A2-0AE991EDAF71}"/>
              </a:ext>
            </a:extLst>
          </p:cNvPr>
          <p:cNvSpPr txBox="1">
            <a:spLocks/>
          </p:cNvSpPr>
          <p:nvPr userDrawn="1"/>
        </p:nvSpPr>
        <p:spPr>
          <a:xfrm>
            <a:off x="8218488" y="6400800"/>
            <a:ext cx="2942431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Proprietary and confidential. Do not distribute.</a:t>
            </a:r>
          </a:p>
        </p:txBody>
      </p:sp>
    </p:spTree>
    <p:extLst>
      <p:ext uri="{BB962C8B-B14F-4D97-AF65-F5344CB8AC3E}">
        <p14:creationId xmlns:p14="http://schemas.microsoft.com/office/powerpoint/2010/main" val="22442392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2 Red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75C37678-6A0A-C84B-9A52-9B7F891FFFD3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A6F6AB-3F75-814E-B81E-F9E4C24E948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8FA72BC-16D1-2045-8477-A02F773FC3E7}"/>
              </a:ext>
            </a:extLst>
          </p:cNvPr>
          <p:cNvSpPr txBox="1"/>
          <p:nvPr userDrawn="1"/>
        </p:nvSpPr>
        <p:spPr>
          <a:xfrm>
            <a:off x="442913" y="6400798"/>
            <a:ext cx="30480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GB" sz="750" b="1" dirty="0">
                <a:solidFill>
                  <a:schemeClr val="bg1"/>
                </a:solidFill>
              </a:rPr>
              <a:t>PwC</a:t>
            </a:r>
            <a:endParaRPr lang="en-GB" sz="750" b="0" dirty="0">
              <a:solidFill>
                <a:schemeClr val="bg1"/>
              </a:solidFill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49F59E92-0B7C-6340-9BCB-B2E93DCC0ECB}"/>
              </a:ext>
            </a:extLst>
          </p:cNvPr>
          <p:cNvSpPr txBox="1">
            <a:spLocks/>
          </p:cNvSpPr>
          <p:nvPr userDrawn="1"/>
        </p:nvSpPr>
        <p:spPr>
          <a:xfrm>
            <a:off x="8218488" y="6400800"/>
            <a:ext cx="2942431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Proprietary and confidential. Do not distribute.</a:t>
            </a:r>
          </a:p>
        </p:txBody>
      </p:sp>
    </p:spTree>
    <p:extLst>
      <p:ext uri="{BB962C8B-B14F-4D97-AF65-F5344CB8AC3E}">
        <p14:creationId xmlns:p14="http://schemas.microsoft.com/office/powerpoint/2010/main" val="38389944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 1 Image Orang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51DFF6C-D689-4C1C-A8AC-5B7E3B6DBDF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pl-PL" sz="32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ADE5DCB-A856-4056-8090-64C19A392236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pl-PL" sz="1600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EBA5CA3E-5ADF-C84E-8B6D-07C039516DFE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687001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D07CDB-3D5A-144D-891F-76C8EE52CAC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1CBB7F1-AF3C-874C-BE8B-D104DA2E8F83}"/>
              </a:ext>
            </a:extLst>
          </p:cNvPr>
          <p:cNvSpPr txBox="1"/>
          <p:nvPr userDrawn="1"/>
        </p:nvSpPr>
        <p:spPr>
          <a:xfrm>
            <a:off x="442913" y="6400798"/>
            <a:ext cx="30480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pl-PL" sz="750" b="1">
                <a:solidFill>
                  <a:schemeClr val="bg1"/>
                </a:solidFill>
              </a:rPr>
              <a:t>PwC</a:t>
            </a:r>
            <a:endParaRPr lang="pl-PL" sz="750" b="0" dirty="0">
              <a:solidFill>
                <a:schemeClr val="bg1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A6D914CB-B479-48CF-A4B8-42D63D2F87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26213" y="432001"/>
            <a:ext cx="5221287" cy="492443"/>
          </a:xfrm>
        </p:spPr>
        <p:txBody>
          <a:bodyPr/>
          <a:lstStyle>
            <a:lvl1pPr>
              <a:defRPr/>
            </a:lvl1pPr>
          </a:lstStyle>
          <a:p>
            <a:r>
              <a:rPr lang="pl-PL"/>
              <a:t>[Action title]</a:t>
            </a:r>
            <a:endParaRPr lang="pl-PL" dirty="0"/>
          </a:p>
        </p:txBody>
      </p:sp>
      <p:pic>
        <p:nvPicPr>
          <p:cNvPr id="8203" name="Picture 11">
            <a:extLst>
              <a:ext uri="{FF2B5EF4-FFF2-40B4-BE49-F238E27FC236}">
                <a16:creationId xmlns:a16="http://schemas.microsoft.com/office/drawing/2014/main" id="{8DB6B456-1F01-45E9-A888-C1ED41DB52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563220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2 Rose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F3D58181-4255-CF4B-AEC5-6ADD879A60CA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87F919-EC3A-3241-8DAE-2E4D035F757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7D1A23C-DCC6-AB46-9BE5-B99F14C52642}"/>
              </a:ext>
            </a:extLst>
          </p:cNvPr>
          <p:cNvSpPr txBox="1"/>
          <p:nvPr userDrawn="1"/>
        </p:nvSpPr>
        <p:spPr>
          <a:xfrm>
            <a:off x="442913" y="6400798"/>
            <a:ext cx="30480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>
              <a:lnSpc>
                <a:spcPct val="100000"/>
              </a:lnSpc>
            </a:pPr>
            <a:r>
              <a:rPr lang="en-GB" sz="750" b="1" dirty="0">
                <a:solidFill>
                  <a:schemeClr val="bg1"/>
                </a:solidFill>
              </a:rPr>
              <a:t>PwC</a:t>
            </a:r>
            <a:endParaRPr lang="en-GB" sz="750" b="0" dirty="0">
              <a:solidFill>
                <a:schemeClr val="bg1"/>
              </a:solidFill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3C12044F-4FE3-EA46-A9A8-1FD082BCFDA8}"/>
              </a:ext>
            </a:extLst>
          </p:cNvPr>
          <p:cNvSpPr txBox="1">
            <a:spLocks/>
          </p:cNvSpPr>
          <p:nvPr userDrawn="1"/>
        </p:nvSpPr>
        <p:spPr>
          <a:xfrm>
            <a:off x="8218488" y="6400800"/>
            <a:ext cx="2942431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Proprietary and confidential. Do not distribute.</a:t>
            </a:r>
          </a:p>
        </p:txBody>
      </p:sp>
    </p:spTree>
    <p:extLst>
      <p:ext uri="{BB962C8B-B14F-4D97-AF65-F5344CB8AC3E}">
        <p14:creationId xmlns:p14="http://schemas.microsoft.com/office/powerpoint/2010/main" val="95667841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2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056180B7-FBDB-F345-B5D1-21FE86D79BA3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111AB2D-BD6C-ED44-886E-A866C564DF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BA32DA9-721C-CB42-9B45-34944DEEA5B9}"/>
              </a:ext>
            </a:extLst>
          </p:cNvPr>
          <p:cNvSpPr txBox="1"/>
          <p:nvPr userDrawn="1"/>
        </p:nvSpPr>
        <p:spPr>
          <a:xfrm>
            <a:off x="442913" y="6400798"/>
            <a:ext cx="30480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GB" sz="750" b="1" dirty="0">
                <a:solidFill>
                  <a:schemeClr val="bg1"/>
                </a:solidFill>
              </a:rPr>
              <a:t>PwC</a:t>
            </a:r>
            <a:endParaRPr lang="en-GB" sz="750" b="0" dirty="0">
              <a:solidFill>
                <a:schemeClr val="bg1"/>
              </a:solidFill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9879C374-4EBE-A344-AEC0-A65E3C58CDC1}"/>
              </a:ext>
            </a:extLst>
          </p:cNvPr>
          <p:cNvSpPr txBox="1">
            <a:spLocks/>
          </p:cNvSpPr>
          <p:nvPr userDrawn="1"/>
        </p:nvSpPr>
        <p:spPr>
          <a:xfrm>
            <a:off x="8218488" y="6400800"/>
            <a:ext cx="2942431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Proprietary and confidential. Do not distribute.</a:t>
            </a:r>
          </a:p>
        </p:txBody>
      </p:sp>
    </p:spTree>
    <p:extLst>
      <p:ext uri="{BB962C8B-B14F-4D97-AF65-F5344CB8AC3E}">
        <p14:creationId xmlns:p14="http://schemas.microsoft.com/office/powerpoint/2010/main" val="26927266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5510212" y="1665289"/>
            <a:ext cx="6238875" cy="2780163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[Section header title]</a:t>
            </a: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C60A2100-6DF1-414A-91DA-B6027C61BA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1665289"/>
            <a:ext cx="4344987" cy="4506912"/>
          </a:xfrm>
          <a:noFill/>
        </p:spPr>
        <p:txBody>
          <a:bodyPr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52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23751976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5510212" y="1665289"/>
            <a:ext cx="6238875" cy="2780164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[Section header title]</a:t>
            </a:r>
            <a:endParaRPr lang="en-GB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C60A2100-6DF1-414A-91DA-B6027C61BA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1665289"/>
            <a:ext cx="4344987" cy="4506912"/>
          </a:xfrm>
          <a:noFill/>
        </p:spPr>
        <p:txBody>
          <a:bodyPr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52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992526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ose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5510212" y="1665289"/>
            <a:ext cx="6238875" cy="2780163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[Section header title]</a:t>
            </a:r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C60A2100-6DF1-414A-91DA-B6027C61BA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1665289"/>
            <a:ext cx="4344987" cy="4506912"/>
          </a:xfrm>
          <a:noFill/>
        </p:spPr>
        <p:txBody>
          <a:bodyPr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52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4228540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5510212" y="1665289"/>
            <a:ext cx="6238875" cy="2780163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[Section header title]</a:t>
            </a:r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C60A2100-6DF1-414A-91DA-B6027C61BA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1665289"/>
            <a:ext cx="4344987" cy="4506912"/>
          </a:xfrm>
          <a:noFill/>
        </p:spPr>
        <p:txBody>
          <a:bodyPr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52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12102663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 Manual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9D68526-5625-1E4A-90D0-6166C1CB09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8588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 Manual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7054294-58FB-3646-A032-19FD697995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892644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ose Manual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0F4BCE9-03B0-5C4D-A70B-519F67263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671701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 Manual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D146EE5-5980-A84E-9311-F5B9956E43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44447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6096000" y="0"/>
            <a:ext cx="6095999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Rectangle 8"/>
          <p:cNvSpPr/>
          <p:nvPr/>
        </p:nvSpPr>
        <p:spPr bwMode="hidden">
          <a:xfrm>
            <a:off x="0" y="0"/>
            <a:ext cx="6096000" cy="3429000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/>
        </p:nvSpPr>
        <p:spPr bwMode="hidden">
          <a:xfrm>
            <a:off x="0" y="3429000"/>
            <a:ext cx="6096000" cy="11430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3" y="428625"/>
            <a:ext cx="5473700" cy="2055496"/>
          </a:xfrm>
        </p:spPr>
        <p:txBody>
          <a:bodyPr anchor="b" anchorCtr="0">
            <a:normAutofit/>
          </a:bodyPr>
          <a:lstStyle>
            <a:lvl1pPr algn="l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3" y="3764282"/>
            <a:ext cx="5473700" cy="70484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00E57C-CC48-F54D-B3F3-3A114B2488C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85139" y="5330952"/>
            <a:ext cx="1636776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077172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 bwMode="hidden">
          <a:xfrm>
            <a:off x="0" y="4940854"/>
            <a:ext cx="12192000" cy="1917146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4" y="1964947"/>
            <a:ext cx="5473699" cy="892552"/>
          </a:xfrm>
        </p:spPr>
        <p:txBody>
          <a:bodyPr anchor="b" anchorCtr="0"/>
          <a:lstStyle>
            <a:lvl1pPr algn="l">
              <a:lnSpc>
                <a:spcPct val="100000"/>
              </a:lnSpc>
              <a:defRPr sz="5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</a:t>
            </a:r>
            <a:endParaRPr lang="en-GB" dirty="0"/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00000"/>
              </a:lnSpc>
            </a:pP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2" y="5259600"/>
            <a:ext cx="11306176" cy="145161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Legal]</a:t>
            </a:r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00000"/>
              </a:lnSpc>
            </a:pPr>
            <a:endParaRPr lang="en-GB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7A53FBC-337E-0D4B-8811-6E0EEC0A9293}"/>
              </a:ext>
            </a:extLst>
          </p:cNvPr>
          <p:cNvSpPr txBox="1"/>
          <p:nvPr userDrawn="1"/>
        </p:nvSpPr>
        <p:spPr>
          <a:xfrm>
            <a:off x="442913" y="4400548"/>
            <a:ext cx="5473699" cy="340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en-US" sz="1200" dirty="0" err="1">
                <a:solidFill>
                  <a:schemeClr val="bg1"/>
                </a:solidFill>
              </a:rPr>
              <a:t>pwc.com</a:t>
            </a: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94997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 bwMode="hidden">
          <a:xfrm>
            <a:off x="0" y="4940854"/>
            <a:ext cx="12192000" cy="1917146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4" y="1964947"/>
            <a:ext cx="5473699" cy="892552"/>
          </a:xfrm>
        </p:spPr>
        <p:txBody>
          <a:bodyPr anchor="b" anchorCtr="0"/>
          <a:lstStyle>
            <a:lvl1pPr algn="l">
              <a:lnSpc>
                <a:spcPct val="100000"/>
              </a:lnSpc>
              <a:defRPr sz="5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ank you</a:t>
            </a:r>
            <a:endParaRPr lang="en-GB" dirty="0"/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00000"/>
              </a:lnSpc>
            </a:pP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2" y="5259600"/>
            <a:ext cx="11306176" cy="145161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Legal]</a:t>
            </a:r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00000"/>
              </a:lnSpc>
            </a:pPr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745B5A1-1961-2549-9AC7-6FB51905A5F2}"/>
              </a:ext>
            </a:extLst>
          </p:cNvPr>
          <p:cNvSpPr txBox="1"/>
          <p:nvPr userDrawn="1"/>
        </p:nvSpPr>
        <p:spPr>
          <a:xfrm>
            <a:off x="442913" y="4400548"/>
            <a:ext cx="5473699" cy="340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en-US" sz="1200" dirty="0" err="1">
                <a:solidFill>
                  <a:schemeClr val="tx1"/>
                </a:solidFill>
              </a:rPr>
              <a:t>pwc.com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0651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ltGray">
          <a:xfrm>
            <a:off x="8809605" y="1"/>
            <a:ext cx="3382393" cy="6857643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97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5" name="Rectangle 14"/>
          <p:cNvSpPr/>
          <p:nvPr/>
        </p:nvSpPr>
        <p:spPr bwMode="ltGray">
          <a:xfrm>
            <a:off x="1" y="0"/>
            <a:ext cx="10591059" cy="4860788"/>
          </a:xfrm>
          <a:prstGeom prst="rect">
            <a:avLst/>
          </a:prstGeom>
          <a:solidFill>
            <a:schemeClr val="accent6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97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24588" y="-1"/>
            <a:ext cx="4067412" cy="65102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609602" y="457200"/>
            <a:ext cx="5307012" cy="2514601"/>
          </a:xfrm>
        </p:spPr>
        <p:txBody>
          <a:bodyPr anchor="b" anchorCtr="0">
            <a:normAutofit/>
          </a:bodyPr>
          <a:lstStyle>
            <a:lvl1pPr algn="l">
              <a:lnSpc>
                <a:spcPct val="85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62C9C6A0-E585-3746-819C-6C91E3E793F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09600" y="3749040"/>
            <a:ext cx="5307013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C024489-97EC-1D48-A1FA-019C1228618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201168" y="5330952"/>
            <a:ext cx="1636776" cy="1351185"/>
          </a:xfrm>
          <a:prstGeom prst="rect">
            <a:avLst/>
          </a:prstGeom>
        </p:spPr>
      </p:pic>
      <p:sp>
        <p:nvSpPr>
          <p:cNvPr id="19" name="Rectangle 18"/>
          <p:cNvSpPr/>
          <p:nvPr userDrawn="1"/>
        </p:nvSpPr>
        <p:spPr bwMode="ltGray">
          <a:xfrm>
            <a:off x="8124587" y="4860788"/>
            <a:ext cx="4067411" cy="1997212"/>
          </a:xfrm>
          <a:prstGeom prst="rect">
            <a:avLst/>
          </a:prstGeom>
          <a:solidFill>
            <a:srgbClr val="DB536A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97" dirty="0" err="1">
              <a:solidFill>
                <a:schemeClr val="bg1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354107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hart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/>
          <p:cNvSpPr>
            <a:spLocks noGrp="1"/>
          </p:cNvSpPr>
          <p:nvPr>
            <p:ph type="chart" sz="quarter" idx="13"/>
          </p:nvPr>
        </p:nvSpPr>
        <p:spPr>
          <a:xfrm>
            <a:off x="442913" y="2103438"/>
            <a:ext cx="11306175" cy="4068762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8A692-B2AF-6448-8025-A2D10476E94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F6BD465-CD15-EC45-83F1-C724AC166A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Presentation Title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8247A16-A0E7-4A40-BC88-A10C50CA51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92505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F61F8B9-9696-49D0-BCB0-AC79283DD905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32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9" name="Rectangle 8"/>
          <p:cNvSpPr/>
          <p:nvPr/>
        </p:nvSpPr>
        <p:spPr bwMode="hidden">
          <a:xfrm>
            <a:off x="0" y="0"/>
            <a:ext cx="8096250" cy="34290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/>
        </p:nvSpPr>
        <p:spPr bwMode="hidden">
          <a:xfrm>
            <a:off x="0" y="3429000"/>
            <a:ext cx="8096250" cy="1143000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/>
          <p:cNvSpPr/>
          <p:nvPr/>
        </p:nvSpPr>
        <p:spPr bwMode="hidden">
          <a:xfrm>
            <a:off x="8096250" y="0"/>
            <a:ext cx="4095750" cy="3429000"/>
          </a:xfrm>
          <a:prstGeom prst="rect">
            <a:avLst/>
          </a:prstGeom>
          <a:solidFill>
            <a:srgbClr val="EB8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2" y="2438923"/>
            <a:ext cx="7418388" cy="418576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4" y="3764282"/>
            <a:ext cx="5473700" cy="70484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C024489-97EC-1D48-A1FA-019C1228618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185139" y="5330952"/>
            <a:ext cx="1636776" cy="1351185"/>
          </a:xfrm>
          <a:prstGeom prst="rect">
            <a:avLst/>
          </a:prstGeom>
        </p:spPr>
      </p:pic>
      <p:pic>
        <p:nvPicPr>
          <p:cNvPr id="9226" name="Picture 10">
            <a:extLst>
              <a:ext uri="{FF2B5EF4-FFF2-40B4-BE49-F238E27FC236}">
                <a16:creationId xmlns:a16="http://schemas.microsoft.com/office/drawing/2014/main" id="{3BF7E7D0-C0F1-4738-BEBF-7F57AB02B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422302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hidden">
          <a:xfrm>
            <a:off x="0" y="0"/>
            <a:ext cx="8096250" cy="3429000"/>
          </a:xfrm>
          <a:prstGeom prst="rect">
            <a:avLst/>
          </a:prstGeom>
          <a:solidFill>
            <a:srgbClr val="7D7D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0" name="Rectangle 9"/>
          <p:cNvSpPr/>
          <p:nvPr/>
        </p:nvSpPr>
        <p:spPr bwMode="hidden">
          <a:xfrm>
            <a:off x="0" y="3429000"/>
            <a:ext cx="8096250" cy="11430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1" name="Rectangle 10"/>
          <p:cNvSpPr/>
          <p:nvPr/>
        </p:nvSpPr>
        <p:spPr bwMode="hidden">
          <a:xfrm>
            <a:off x="8096250" y="0"/>
            <a:ext cx="4095750" cy="34290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2" y="428625"/>
            <a:ext cx="7418388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4" y="3764282"/>
            <a:ext cx="5473700" cy="70484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571B43E-7EFD-FC49-8203-0C37C621BF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85139" y="5330952"/>
            <a:ext cx="1636776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8003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 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hidden">
          <a:xfrm>
            <a:off x="0" y="0"/>
            <a:ext cx="8096250" cy="34290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0" name="Rectangle 9"/>
          <p:cNvSpPr/>
          <p:nvPr/>
        </p:nvSpPr>
        <p:spPr bwMode="hidden">
          <a:xfrm>
            <a:off x="0" y="3429000"/>
            <a:ext cx="8096250" cy="1143000"/>
          </a:xfrm>
          <a:prstGeom prst="rect">
            <a:avLst/>
          </a:prstGeom>
          <a:solidFill>
            <a:srgbClr val="7D7D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accent6"/>
              </a:solidFill>
            </a:endParaRPr>
          </a:p>
        </p:txBody>
      </p:sp>
      <p:sp>
        <p:nvSpPr>
          <p:cNvPr id="11" name="Rectangle 10"/>
          <p:cNvSpPr/>
          <p:nvPr/>
        </p:nvSpPr>
        <p:spPr bwMode="hidden">
          <a:xfrm>
            <a:off x="8096250" y="0"/>
            <a:ext cx="4095750" cy="34290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2" y="428625"/>
            <a:ext cx="7418388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4" y="3764282"/>
            <a:ext cx="5473700" cy="70484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C2DF81D-CFC9-CA4F-9296-0DF32281B17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85139" y="5330952"/>
            <a:ext cx="1636776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9206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All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2" y="428625"/>
            <a:ext cx="7418388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3" y="3764282"/>
            <a:ext cx="5473700" cy="70484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067EFBB-B928-AC40-8026-93C731DCE1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85139" y="5330952"/>
            <a:ext cx="1636776" cy="1351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3764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5507057-14F0-4649-A618-914CEE773D1A}"/>
              </a:ext>
            </a:extLst>
          </p:cNvPr>
          <p:cNvSpPr/>
          <p:nvPr userDrawn="1">
            <p:custDataLst>
              <p:tags r:id="rId5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pl-PL" sz="32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32001"/>
            <a:ext cx="11306175" cy="98488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[</a:t>
            </a:r>
            <a:r>
              <a:rPr lang="pl-PL" dirty="0"/>
              <a:t>Action </a:t>
            </a:r>
            <a:r>
              <a:rPr lang="pl-PL" dirty="0" err="1"/>
              <a:t>title</a:t>
            </a:r>
            <a:r>
              <a:rPr lang="pl-PL" dirty="0"/>
              <a:t>]</a:t>
            </a:r>
            <a:br>
              <a:rPr lang="pl-PL" dirty="0"/>
            </a:b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2913" y="1665288"/>
            <a:ext cx="11306175" cy="45069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27130" y="6400800"/>
            <a:ext cx="421958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Box 7"/>
          <p:cNvSpPr txBox="1"/>
          <p:nvPr/>
        </p:nvSpPr>
        <p:spPr>
          <a:xfrm>
            <a:off x="442913" y="6400798"/>
            <a:ext cx="30480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GB" sz="750" b="0" dirty="0">
                <a:solidFill>
                  <a:schemeClr val="tx1"/>
                </a:solidFill>
              </a:rPr>
              <a:t>PwC</a:t>
            </a:r>
          </a:p>
        </p:txBody>
      </p:sp>
      <p:pic>
        <p:nvPicPr>
          <p:cNvPr id="1053" name="Picture 29">
            <a:extLst>
              <a:ext uri="{FF2B5EF4-FFF2-40B4-BE49-F238E27FC236}">
                <a16:creationId xmlns:a16="http://schemas.microsoft.com/office/drawing/2014/main" id="{CE04C0C3-D048-4026-A185-EDB4659704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1101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  <p:sldLayoutId id="2147483731" r:id="rId12"/>
    <p:sldLayoutId id="2147483732" r:id="rId13"/>
    <p:sldLayoutId id="2147483733" r:id="rId14"/>
    <p:sldLayoutId id="2147483734" r:id="rId15"/>
    <p:sldLayoutId id="2147483735" r:id="rId16"/>
    <p:sldLayoutId id="2147483736" r:id="rId17"/>
    <p:sldLayoutId id="2147483737" r:id="rId18"/>
    <p:sldLayoutId id="2147483738" r:id="rId19"/>
    <p:sldLayoutId id="2147483739" r:id="rId20"/>
    <p:sldLayoutId id="2147483786" r:id="rId21"/>
    <p:sldLayoutId id="2147483804" r:id="rId22"/>
    <p:sldLayoutId id="2147483791" r:id="rId23"/>
    <p:sldLayoutId id="2147483794" r:id="rId24"/>
    <p:sldLayoutId id="2147483790" r:id="rId25"/>
    <p:sldLayoutId id="2147483745" r:id="rId26"/>
    <p:sldLayoutId id="2147483796" r:id="rId27"/>
    <p:sldLayoutId id="2147483797" r:id="rId28"/>
    <p:sldLayoutId id="2147483765" r:id="rId29"/>
    <p:sldLayoutId id="2147483766" r:id="rId30"/>
    <p:sldLayoutId id="2147483767" r:id="rId31"/>
    <p:sldLayoutId id="2147483792" r:id="rId32"/>
    <p:sldLayoutId id="2147483793" r:id="rId33"/>
    <p:sldLayoutId id="2147483770" r:id="rId34"/>
    <p:sldLayoutId id="2147483771" r:id="rId35"/>
    <p:sldLayoutId id="2147483772" r:id="rId36"/>
    <p:sldLayoutId id="2147483773" r:id="rId37"/>
    <p:sldLayoutId id="2147483774" r:id="rId38"/>
    <p:sldLayoutId id="2147483775" r:id="rId39"/>
    <p:sldLayoutId id="2147483776" r:id="rId40"/>
    <p:sldLayoutId id="2147483777" r:id="rId41"/>
    <p:sldLayoutId id="2147483778" r:id="rId42"/>
    <p:sldLayoutId id="2147483779" r:id="rId43"/>
    <p:sldLayoutId id="2147483780" r:id="rId44"/>
    <p:sldLayoutId id="2147483781" r:id="rId45"/>
    <p:sldLayoutId id="2147483782" r:id="rId46"/>
    <p:sldLayoutId id="2147483783" r:id="rId47"/>
    <p:sldLayoutId id="2147483784" r:id="rId48"/>
    <p:sldLayoutId id="2147483785" r:id="rId49"/>
    <p:sldLayoutId id="2147483788" r:id="rId50"/>
    <p:sldLayoutId id="2147483789" r:id="rId51"/>
    <p:sldLayoutId id="2147483798" r:id="rId52"/>
    <p:sldLayoutId id="2147483799" r:id="rId53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864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91440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972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2801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79" userDrawn="1">
          <p15:clr>
            <a:srgbClr val="F26B43"/>
          </p15:clr>
        </p15:guide>
        <p15:guide id="2" pos="7401" userDrawn="1">
          <p15:clr>
            <a:srgbClr val="F26B43"/>
          </p15:clr>
        </p15:guide>
        <p15:guide id="5" orient="horz" pos="3888" userDrawn="1">
          <p15:clr>
            <a:srgbClr val="F26B43"/>
          </p15:clr>
        </p15:guide>
        <p15:guide id="11" orient="horz" pos="1049" userDrawn="1">
          <p15:clr>
            <a:srgbClr val="F26B43"/>
          </p15:clr>
        </p15:guide>
        <p15:guide id="12" orient="horz" pos="896" userDrawn="1">
          <p15:clr>
            <a:srgbClr val="F26B43"/>
          </p15:clr>
        </p15:guide>
        <p15:guide id="13" orient="horz" pos="27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50.xml"/><Relationship Id="rId1" Type="http://schemas.openxmlformats.org/officeDocument/2006/relationships/tags" Target="../tags/tag18.xml"/><Relationship Id="rId5" Type="http://schemas.openxmlformats.org/officeDocument/2006/relationships/image" Target="../media/image2.emf"/><Relationship Id="rId4" Type="http://schemas.openxmlformats.org/officeDocument/2006/relationships/hyperlink" Target="about:blank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0.xml"/><Relationship Id="rId5" Type="http://schemas.openxmlformats.org/officeDocument/2006/relationships/image" Target="../media/image2.emf"/><Relationship Id="rId4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1.xml"/><Relationship Id="rId5" Type="http://schemas.openxmlformats.org/officeDocument/2006/relationships/image" Target="../media/image2.emf"/><Relationship Id="rId4" Type="http://schemas.openxmlformats.org/officeDocument/2006/relationships/image" Target="../media/image7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2.xml"/><Relationship Id="rId5" Type="http://schemas.openxmlformats.org/officeDocument/2006/relationships/image" Target="../media/image2.emf"/><Relationship Id="rId4" Type="http://schemas.openxmlformats.org/officeDocument/2006/relationships/image" Target="../media/image8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3.xml"/><Relationship Id="rId5" Type="http://schemas.openxmlformats.org/officeDocument/2006/relationships/image" Target="../media/image2.emf"/><Relationship Id="rId4" Type="http://schemas.openxmlformats.org/officeDocument/2006/relationships/image" Target="../media/image9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4.xml"/><Relationship Id="rId5" Type="http://schemas.openxmlformats.org/officeDocument/2006/relationships/image" Target="../media/image2.emf"/><Relationship Id="rId4" Type="http://schemas.openxmlformats.org/officeDocument/2006/relationships/image" Target="../media/image10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15.xml"/><Relationship Id="rId4" Type="http://schemas.openxmlformats.org/officeDocument/2006/relationships/image" Target="../media/image2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1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535EFF9-B564-4227-8CA4-137662AA77C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pl-PL" sz="320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442912" y="1601771"/>
            <a:ext cx="7418388" cy="1255728"/>
          </a:xfrm>
        </p:spPr>
        <p:txBody>
          <a:bodyPr/>
          <a:lstStyle/>
          <a:p>
            <a:r>
              <a:rPr lang="pl-PL" dirty="0"/>
              <a:t>Niepobranie podatku przez płatnika stosującego się do interpretacji a odpowiedzialność podatnika</a:t>
            </a:r>
            <a:endParaRPr lang="en-GB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pl-PL" dirty="0"/>
              <a:t>Wyrok NSA z dnia 13 sierpnia 2019 r., sygn. akt II FSK 3485/17 </a:t>
            </a:r>
          </a:p>
          <a:p>
            <a:r>
              <a:rPr lang="en-GB" dirty="0" err="1"/>
              <a:t>doradca</a:t>
            </a:r>
            <a:r>
              <a:rPr lang="en-GB" dirty="0"/>
              <a:t> </a:t>
            </a:r>
            <a:r>
              <a:rPr lang="en-GB" dirty="0" err="1"/>
              <a:t>podatkowy</a:t>
            </a:r>
            <a:r>
              <a:rPr lang="en-GB" dirty="0"/>
              <a:t> Mariusz </a:t>
            </a:r>
            <a:r>
              <a:rPr lang="en-GB" dirty="0" err="1"/>
              <a:t>Marecki</a:t>
            </a:r>
            <a:endParaRPr lang="en-GB" dirty="0"/>
          </a:p>
          <a:p>
            <a:endParaRPr lang="en-GB" dirty="0"/>
          </a:p>
        </p:txBody>
      </p:sp>
      <p:sp>
        <p:nvSpPr>
          <p:cNvPr id="9" name="Google Shape;265;p26">
            <a:extLst>
              <a:ext uri="{FF2B5EF4-FFF2-40B4-BE49-F238E27FC236}">
                <a16:creationId xmlns:a16="http://schemas.microsoft.com/office/drawing/2014/main" id="{F8003C82-A0F7-4A1A-AEE2-8C456C554C6C}"/>
              </a:ext>
            </a:extLst>
          </p:cNvPr>
          <p:cNvSpPr txBox="1">
            <a:spLocks/>
          </p:cNvSpPr>
          <p:nvPr/>
        </p:nvSpPr>
        <p:spPr>
          <a:xfrm>
            <a:off x="442914" y="428625"/>
            <a:ext cx="5473700" cy="7048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sz="1100" dirty="0"/>
              <a:t>Toruń, 6 marca 2020 r.</a:t>
            </a:r>
          </a:p>
        </p:txBody>
      </p:sp>
      <p:pic>
        <p:nvPicPr>
          <p:cNvPr id="10250" name="Picture 10">
            <a:extLst>
              <a:ext uri="{FF2B5EF4-FFF2-40B4-BE49-F238E27FC236}">
                <a16:creationId xmlns:a16="http://schemas.microsoft.com/office/drawing/2014/main" id="{C5E548D7-2B42-457A-BC7A-918B7EAC29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829529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8963820-2E41-4466-8BCC-89F5C811351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pl-PL" sz="580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442914" y="1964947"/>
            <a:ext cx="7238046" cy="892552"/>
          </a:xfrm>
        </p:spPr>
        <p:txBody>
          <a:bodyPr/>
          <a:lstStyle/>
          <a:p>
            <a:r>
              <a:rPr lang="pl-PL" dirty="0"/>
              <a:t>Dziękuję za uwagę.</a:t>
            </a:r>
            <a:endParaRPr lang="en-GB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7EC6113-2943-4303-AADF-4ECFC50A8C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l-PL" dirty="0"/>
              <a:t>© 2020 </a:t>
            </a:r>
            <a:r>
              <a:rPr lang="pl-PL" dirty="0" err="1"/>
              <a:t>PwC</a:t>
            </a:r>
            <a:r>
              <a:rPr lang="pl-PL" dirty="0"/>
              <a:t>. Wszystkie prawa zastrzeżone. W tym dokumencie nazwa "</a:t>
            </a:r>
            <a:r>
              <a:rPr lang="pl-PL" dirty="0" err="1"/>
              <a:t>PwC</a:t>
            </a:r>
            <a:r>
              <a:rPr lang="pl-PL" dirty="0"/>
              <a:t>" odnosi się do polskich podmiotów wchodzącej w skład sieci </a:t>
            </a:r>
            <a:r>
              <a:rPr lang="pl-PL" dirty="0" err="1"/>
              <a:t>PricewaterhouseCoopers</a:t>
            </a:r>
            <a:r>
              <a:rPr lang="pl-PL" dirty="0"/>
              <a:t> International Limited, z których każda stanowi odrębny i niezależny podmiot prawny. Niniejsza treść ma charakter ogólny i nie powinna być używana jako odpowiednik konsultacji z profesjonalnymi doradcami. W </a:t>
            </a:r>
            <a:r>
              <a:rPr lang="pl-PL" dirty="0" err="1"/>
              <a:t>PwC</a:t>
            </a:r>
            <a:r>
              <a:rPr lang="pl-PL" dirty="0"/>
              <a:t> naszym celem jest budowanie zaufania wśród społeczeństwa i odpowiadanie na kluczowe wyzwania współczesnego świata. Jesteśmy siecią firm działającą w 157 krajach. Zatrudniamy ponad 276 tysięcy osób, dostarczających naszym klientom najwyższą jakość usług w zakresie audytu, doradztwa biznesowego oraz doradztwa podatkowego i prawnego. Dowiedz się więcej na </a:t>
            </a:r>
            <a:r>
              <a:rPr lang="pl-PL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pwc.pl</a:t>
            </a:r>
            <a:r>
              <a:rPr lang="pl-PL" dirty="0"/>
              <a:t>.</a:t>
            </a:r>
          </a:p>
        </p:txBody>
      </p:sp>
      <p:sp>
        <p:nvSpPr>
          <p:cNvPr id="6" name="Subtitle 4">
            <a:extLst>
              <a:ext uri="{FF2B5EF4-FFF2-40B4-BE49-F238E27FC236}">
                <a16:creationId xmlns:a16="http://schemas.microsoft.com/office/drawing/2014/main" id="{0E46E4E8-AAF2-48B8-A1F8-CFE2C1683135}"/>
              </a:ext>
            </a:extLst>
          </p:cNvPr>
          <p:cNvSpPr txBox="1">
            <a:spLocks/>
          </p:cNvSpPr>
          <p:nvPr/>
        </p:nvSpPr>
        <p:spPr>
          <a:xfrm>
            <a:off x="442914" y="3429000"/>
            <a:ext cx="5673011" cy="59436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sz="2400" b="1" dirty="0"/>
              <a:t>Mariusz Marecki</a:t>
            </a:r>
          </a:p>
          <a:p>
            <a:r>
              <a:rPr lang="pl-PL" sz="1800" dirty="0"/>
              <a:t>doradca podatkowy</a:t>
            </a:r>
            <a:endParaRPr lang="en-GB" sz="1800" dirty="0"/>
          </a:p>
        </p:txBody>
      </p:sp>
      <p:pic>
        <p:nvPicPr>
          <p:cNvPr id="22535" name="Picture 7">
            <a:extLst>
              <a:ext uri="{FF2B5EF4-FFF2-40B4-BE49-F238E27FC236}">
                <a16:creationId xmlns:a16="http://schemas.microsoft.com/office/drawing/2014/main" id="{23B3CC6C-3E05-42F7-B239-73118D15FC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649147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114B5AA-C109-4571-A78D-22471533D38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pl-PL" sz="320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Stan faktyczny</a:t>
            </a:r>
            <a:endParaRPr lang="en-GB" b="0" i="0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B64A19F-1C25-4F58-8BD2-A802541D85E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9D99390-87ED-4448-8BC6-C3CA1F4F873E}"/>
              </a:ext>
            </a:extLst>
          </p:cNvPr>
          <p:cNvGrpSpPr/>
          <p:nvPr/>
        </p:nvGrpSpPr>
        <p:grpSpPr>
          <a:xfrm>
            <a:off x="442912" y="1673225"/>
            <a:ext cx="6694487" cy="430887"/>
            <a:chOff x="442912" y="1673225"/>
            <a:chExt cx="6694487" cy="430887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97ED5C4-0012-4B5F-BFE0-050272D37A84}"/>
                </a:ext>
              </a:extLst>
            </p:cNvPr>
            <p:cNvSpPr txBox="1"/>
            <p:nvPr/>
          </p:nvSpPr>
          <p:spPr>
            <a:xfrm>
              <a:off x="713734" y="1673225"/>
              <a:ext cx="6423665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pl-PL" sz="1400" dirty="0"/>
                <a:t>Podatnik otrzymywał wynagrodzenie ze stosunku pracy, od którego części płatnik nie pobierał zaliczek</a:t>
              </a:r>
            </a:p>
          </p:txBody>
        </p:sp>
        <p:sp>
          <p:nvSpPr>
            <p:cNvPr id="10" name="Freeform 13">
              <a:extLst>
                <a:ext uri="{FF2B5EF4-FFF2-40B4-BE49-F238E27FC236}">
                  <a16:creationId xmlns:a16="http://schemas.microsoft.com/office/drawing/2014/main" id="{577D3841-FE9D-4A55-A925-16A75BFEE91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2912" y="1673268"/>
              <a:ext cx="128587" cy="204811"/>
            </a:xfrm>
            <a:custGeom>
              <a:avLst/>
              <a:gdLst>
                <a:gd name="T0" fmla="*/ 34 w 128"/>
                <a:gd name="T1" fmla="*/ 197 h 204"/>
                <a:gd name="T2" fmla="*/ 128 w 128"/>
                <a:gd name="T3" fmla="*/ 102 h 204"/>
                <a:gd name="T4" fmla="*/ 34 w 128"/>
                <a:gd name="T5" fmla="*/ 8 h 204"/>
                <a:gd name="T6" fmla="*/ 7 w 128"/>
                <a:gd name="T7" fmla="*/ 8 h 204"/>
                <a:gd name="T8" fmla="*/ 7 w 128"/>
                <a:gd name="T9" fmla="*/ 34 h 204"/>
                <a:gd name="T10" fmla="*/ 75 w 128"/>
                <a:gd name="T11" fmla="*/ 102 h 204"/>
                <a:gd name="T12" fmla="*/ 7 w 128"/>
                <a:gd name="T13" fmla="*/ 170 h 204"/>
                <a:gd name="T14" fmla="*/ 2 w 128"/>
                <a:gd name="T15" fmla="*/ 183 h 204"/>
                <a:gd name="T16" fmla="*/ 7 w 128"/>
                <a:gd name="T17" fmla="*/ 197 h 204"/>
                <a:gd name="T18" fmla="*/ 34 w 128"/>
                <a:gd name="T19" fmla="*/ 197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204">
                  <a:moveTo>
                    <a:pt x="34" y="197"/>
                  </a:moveTo>
                  <a:cubicBezTo>
                    <a:pt x="128" y="102"/>
                    <a:pt x="128" y="102"/>
                    <a:pt x="128" y="102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26" y="0"/>
                    <a:pt x="15" y="0"/>
                    <a:pt x="7" y="8"/>
                  </a:cubicBezTo>
                  <a:cubicBezTo>
                    <a:pt x="0" y="15"/>
                    <a:pt x="0" y="27"/>
                    <a:pt x="7" y="34"/>
                  </a:cubicBezTo>
                  <a:cubicBezTo>
                    <a:pt x="75" y="102"/>
                    <a:pt x="75" y="102"/>
                    <a:pt x="75" y="102"/>
                  </a:cubicBezTo>
                  <a:cubicBezTo>
                    <a:pt x="7" y="170"/>
                    <a:pt x="7" y="170"/>
                    <a:pt x="7" y="170"/>
                  </a:cubicBezTo>
                  <a:cubicBezTo>
                    <a:pt x="4" y="174"/>
                    <a:pt x="2" y="179"/>
                    <a:pt x="2" y="183"/>
                  </a:cubicBezTo>
                  <a:cubicBezTo>
                    <a:pt x="2" y="188"/>
                    <a:pt x="4" y="193"/>
                    <a:pt x="7" y="197"/>
                  </a:cubicBezTo>
                  <a:cubicBezTo>
                    <a:pt x="15" y="204"/>
                    <a:pt x="26" y="204"/>
                    <a:pt x="34" y="197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4C5D6E5-11C6-4C91-A322-4292EDECB475}"/>
              </a:ext>
            </a:extLst>
          </p:cNvPr>
          <p:cNvGrpSpPr/>
          <p:nvPr/>
        </p:nvGrpSpPr>
        <p:grpSpPr>
          <a:xfrm>
            <a:off x="442912" y="2556466"/>
            <a:ext cx="6694487" cy="646331"/>
            <a:chOff x="442912" y="2501900"/>
            <a:chExt cx="6694487" cy="646331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7F0EC99-4A83-4AD6-AE40-895CF425F4DD}"/>
                </a:ext>
              </a:extLst>
            </p:cNvPr>
            <p:cNvSpPr txBox="1"/>
            <p:nvPr/>
          </p:nvSpPr>
          <p:spPr>
            <a:xfrm>
              <a:off x="713734" y="2501900"/>
              <a:ext cx="6423665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pl-PL" sz="1400" dirty="0"/>
                <a:t>Opierając się o interpretacje indywidualną wydaną na jego wniosek, płatnik zastosował zwolnienie od opodatkowania (dochody w ramach realizacji projektu opłacanego z grantu Komisji Europejskiej)</a:t>
              </a:r>
            </a:p>
          </p:txBody>
        </p:sp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id="{AD54AA50-EBA3-4875-971F-A345AFDF669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2912" y="2502579"/>
              <a:ext cx="128587" cy="204811"/>
            </a:xfrm>
            <a:custGeom>
              <a:avLst/>
              <a:gdLst>
                <a:gd name="T0" fmla="*/ 34 w 128"/>
                <a:gd name="T1" fmla="*/ 197 h 204"/>
                <a:gd name="T2" fmla="*/ 128 w 128"/>
                <a:gd name="T3" fmla="*/ 102 h 204"/>
                <a:gd name="T4" fmla="*/ 34 w 128"/>
                <a:gd name="T5" fmla="*/ 8 h 204"/>
                <a:gd name="T6" fmla="*/ 7 w 128"/>
                <a:gd name="T7" fmla="*/ 8 h 204"/>
                <a:gd name="T8" fmla="*/ 7 w 128"/>
                <a:gd name="T9" fmla="*/ 34 h 204"/>
                <a:gd name="T10" fmla="*/ 75 w 128"/>
                <a:gd name="T11" fmla="*/ 102 h 204"/>
                <a:gd name="T12" fmla="*/ 7 w 128"/>
                <a:gd name="T13" fmla="*/ 170 h 204"/>
                <a:gd name="T14" fmla="*/ 2 w 128"/>
                <a:gd name="T15" fmla="*/ 183 h 204"/>
                <a:gd name="T16" fmla="*/ 7 w 128"/>
                <a:gd name="T17" fmla="*/ 197 h 204"/>
                <a:gd name="T18" fmla="*/ 34 w 128"/>
                <a:gd name="T19" fmla="*/ 197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204">
                  <a:moveTo>
                    <a:pt x="34" y="197"/>
                  </a:moveTo>
                  <a:cubicBezTo>
                    <a:pt x="128" y="102"/>
                    <a:pt x="128" y="102"/>
                    <a:pt x="128" y="102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26" y="0"/>
                    <a:pt x="15" y="0"/>
                    <a:pt x="7" y="8"/>
                  </a:cubicBezTo>
                  <a:cubicBezTo>
                    <a:pt x="0" y="15"/>
                    <a:pt x="0" y="27"/>
                    <a:pt x="7" y="34"/>
                  </a:cubicBezTo>
                  <a:cubicBezTo>
                    <a:pt x="75" y="102"/>
                    <a:pt x="75" y="102"/>
                    <a:pt x="75" y="102"/>
                  </a:cubicBezTo>
                  <a:cubicBezTo>
                    <a:pt x="7" y="170"/>
                    <a:pt x="7" y="170"/>
                    <a:pt x="7" y="170"/>
                  </a:cubicBezTo>
                  <a:cubicBezTo>
                    <a:pt x="4" y="174"/>
                    <a:pt x="2" y="179"/>
                    <a:pt x="2" y="183"/>
                  </a:cubicBezTo>
                  <a:cubicBezTo>
                    <a:pt x="2" y="188"/>
                    <a:pt x="4" y="193"/>
                    <a:pt x="7" y="197"/>
                  </a:cubicBezTo>
                  <a:cubicBezTo>
                    <a:pt x="15" y="204"/>
                    <a:pt x="26" y="204"/>
                    <a:pt x="34" y="197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2F3B2A5-B6C9-4A3D-9563-3C18A386F73A}"/>
              </a:ext>
            </a:extLst>
          </p:cNvPr>
          <p:cNvGrpSpPr/>
          <p:nvPr/>
        </p:nvGrpSpPr>
        <p:grpSpPr>
          <a:xfrm>
            <a:off x="442912" y="3655151"/>
            <a:ext cx="6694487" cy="431160"/>
            <a:chOff x="442912" y="3331890"/>
            <a:chExt cx="6694487" cy="431160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95A0205-7326-4EE5-A9D7-19B61E47C511}"/>
                </a:ext>
              </a:extLst>
            </p:cNvPr>
            <p:cNvSpPr txBox="1"/>
            <p:nvPr/>
          </p:nvSpPr>
          <p:spPr>
            <a:xfrm>
              <a:off x="713734" y="3332163"/>
              <a:ext cx="6423665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pl-PL" sz="1400" dirty="0"/>
                <a:t>Minister Finansów następnie zmienił interpretację płatnika, stwierdzając, że dochód pracownika nie korzysta ze zwolnienia</a:t>
              </a:r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1C99EED4-FE93-4CB3-92FB-5F029262DB2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2912" y="3331890"/>
              <a:ext cx="128587" cy="204811"/>
            </a:xfrm>
            <a:custGeom>
              <a:avLst/>
              <a:gdLst>
                <a:gd name="T0" fmla="*/ 34 w 128"/>
                <a:gd name="T1" fmla="*/ 197 h 204"/>
                <a:gd name="T2" fmla="*/ 128 w 128"/>
                <a:gd name="T3" fmla="*/ 102 h 204"/>
                <a:gd name="T4" fmla="*/ 34 w 128"/>
                <a:gd name="T5" fmla="*/ 8 h 204"/>
                <a:gd name="T6" fmla="*/ 7 w 128"/>
                <a:gd name="T7" fmla="*/ 8 h 204"/>
                <a:gd name="T8" fmla="*/ 7 w 128"/>
                <a:gd name="T9" fmla="*/ 34 h 204"/>
                <a:gd name="T10" fmla="*/ 75 w 128"/>
                <a:gd name="T11" fmla="*/ 102 h 204"/>
                <a:gd name="T12" fmla="*/ 7 w 128"/>
                <a:gd name="T13" fmla="*/ 170 h 204"/>
                <a:gd name="T14" fmla="*/ 2 w 128"/>
                <a:gd name="T15" fmla="*/ 183 h 204"/>
                <a:gd name="T16" fmla="*/ 7 w 128"/>
                <a:gd name="T17" fmla="*/ 197 h 204"/>
                <a:gd name="T18" fmla="*/ 34 w 128"/>
                <a:gd name="T19" fmla="*/ 197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204">
                  <a:moveTo>
                    <a:pt x="34" y="197"/>
                  </a:moveTo>
                  <a:cubicBezTo>
                    <a:pt x="128" y="102"/>
                    <a:pt x="128" y="102"/>
                    <a:pt x="128" y="102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26" y="0"/>
                    <a:pt x="15" y="0"/>
                    <a:pt x="7" y="8"/>
                  </a:cubicBezTo>
                  <a:cubicBezTo>
                    <a:pt x="0" y="15"/>
                    <a:pt x="0" y="27"/>
                    <a:pt x="7" y="34"/>
                  </a:cubicBezTo>
                  <a:cubicBezTo>
                    <a:pt x="75" y="102"/>
                    <a:pt x="75" y="102"/>
                    <a:pt x="75" y="102"/>
                  </a:cubicBezTo>
                  <a:cubicBezTo>
                    <a:pt x="7" y="170"/>
                    <a:pt x="7" y="170"/>
                    <a:pt x="7" y="170"/>
                  </a:cubicBezTo>
                  <a:cubicBezTo>
                    <a:pt x="4" y="174"/>
                    <a:pt x="2" y="179"/>
                    <a:pt x="2" y="183"/>
                  </a:cubicBezTo>
                  <a:cubicBezTo>
                    <a:pt x="2" y="188"/>
                    <a:pt x="4" y="193"/>
                    <a:pt x="7" y="197"/>
                  </a:cubicBezTo>
                  <a:cubicBezTo>
                    <a:pt x="15" y="204"/>
                    <a:pt x="26" y="204"/>
                    <a:pt x="34" y="197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023EAC0-937E-4F4F-922E-5A2739D7B82E}"/>
              </a:ext>
            </a:extLst>
          </p:cNvPr>
          <p:cNvGrpSpPr/>
          <p:nvPr/>
        </p:nvGrpSpPr>
        <p:grpSpPr>
          <a:xfrm>
            <a:off x="442912" y="4538663"/>
            <a:ext cx="6694487" cy="861774"/>
            <a:chOff x="442912" y="4161200"/>
            <a:chExt cx="6694487" cy="861774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1566D203-C2EF-4C70-842C-2F6BFC695AF3}"/>
                </a:ext>
              </a:extLst>
            </p:cNvPr>
            <p:cNvSpPr txBox="1"/>
            <p:nvPr/>
          </p:nvSpPr>
          <p:spPr>
            <a:xfrm>
              <a:off x="713734" y="4161200"/>
              <a:ext cx="6423665" cy="8617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pl-PL" sz="1400" dirty="0"/>
                <a:t>Podatnik z kolei wystąpił o własną interpretację, pytając, czy na podstawie art. 26a §1 ordynacji podatkowej będzie zobowiązany do uregulowania zaległego podatku w sytuacji, gdy płatnik wykazywał dochody podatnika uznając, że są zwolnione</a:t>
              </a:r>
            </a:p>
          </p:txBody>
        </p:sp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3FC35E12-0E7D-4E2D-B10F-CAD2D7DF461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2912" y="4161200"/>
              <a:ext cx="128587" cy="204811"/>
            </a:xfrm>
            <a:custGeom>
              <a:avLst/>
              <a:gdLst>
                <a:gd name="T0" fmla="*/ 34 w 128"/>
                <a:gd name="T1" fmla="*/ 197 h 204"/>
                <a:gd name="T2" fmla="*/ 128 w 128"/>
                <a:gd name="T3" fmla="*/ 102 h 204"/>
                <a:gd name="T4" fmla="*/ 34 w 128"/>
                <a:gd name="T5" fmla="*/ 8 h 204"/>
                <a:gd name="T6" fmla="*/ 7 w 128"/>
                <a:gd name="T7" fmla="*/ 8 h 204"/>
                <a:gd name="T8" fmla="*/ 7 w 128"/>
                <a:gd name="T9" fmla="*/ 34 h 204"/>
                <a:gd name="T10" fmla="*/ 75 w 128"/>
                <a:gd name="T11" fmla="*/ 102 h 204"/>
                <a:gd name="T12" fmla="*/ 7 w 128"/>
                <a:gd name="T13" fmla="*/ 170 h 204"/>
                <a:gd name="T14" fmla="*/ 2 w 128"/>
                <a:gd name="T15" fmla="*/ 183 h 204"/>
                <a:gd name="T16" fmla="*/ 7 w 128"/>
                <a:gd name="T17" fmla="*/ 197 h 204"/>
                <a:gd name="T18" fmla="*/ 34 w 128"/>
                <a:gd name="T19" fmla="*/ 197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204">
                  <a:moveTo>
                    <a:pt x="34" y="197"/>
                  </a:moveTo>
                  <a:cubicBezTo>
                    <a:pt x="128" y="102"/>
                    <a:pt x="128" y="102"/>
                    <a:pt x="128" y="102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26" y="0"/>
                    <a:pt x="15" y="0"/>
                    <a:pt x="7" y="8"/>
                  </a:cubicBezTo>
                  <a:cubicBezTo>
                    <a:pt x="0" y="15"/>
                    <a:pt x="0" y="27"/>
                    <a:pt x="7" y="34"/>
                  </a:cubicBezTo>
                  <a:cubicBezTo>
                    <a:pt x="75" y="102"/>
                    <a:pt x="75" y="102"/>
                    <a:pt x="75" y="102"/>
                  </a:cubicBezTo>
                  <a:cubicBezTo>
                    <a:pt x="7" y="170"/>
                    <a:pt x="7" y="170"/>
                    <a:pt x="7" y="170"/>
                  </a:cubicBezTo>
                  <a:cubicBezTo>
                    <a:pt x="4" y="174"/>
                    <a:pt x="2" y="179"/>
                    <a:pt x="2" y="183"/>
                  </a:cubicBezTo>
                  <a:cubicBezTo>
                    <a:pt x="2" y="188"/>
                    <a:pt x="4" y="193"/>
                    <a:pt x="7" y="197"/>
                  </a:cubicBezTo>
                  <a:cubicBezTo>
                    <a:pt x="15" y="204"/>
                    <a:pt x="26" y="204"/>
                    <a:pt x="34" y="197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pic>
        <p:nvPicPr>
          <p:cNvPr id="28" name="Picture 27">
            <a:extLst>
              <a:ext uri="{FF2B5EF4-FFF2-40B4-BE49-F238E27FC236}">
                <a16:creationId xmlns:a16="http://schemas.microsoft.com/office/drawing/2014/main" id="{077EC5BF-B73C-4EA1-9262-DE6D8A6AA72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58619" y="0"/>
            <a:ext cx="4233381" cy="6858000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2E29555-B117-41EA-B1AB-4C25E6F333AA}"/>
              </a:ext>
            </a:extLst>
          </p:cNvPr>
          <p:cNvCxnSpPr/>
          <p:nvPr/>
        </p:nvCxnSpPr>
        <p:spPr>
          <a:xfrm>
            <a:off x="442913" y="4312488"/>
            <a:ext cx="7258050" cy="0"/>
          </a:xfrm>
          <a:prstGeom prst="line">
            <a:avLst/>
          </a:prstGeom>
          <a:ln w="3175" cap="sq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5B828B8-5037-46AB-94FD-D5534A896424}"/>
              </a:ext>
            </a:extLst>
          </p:cNvPr>
          <p:cNvCxnSpPr/>
          <p:nvPr/>
        </p:nvCxnSpPr>
        <p:spPr>
          <a:xfrm>
            <a:off x="442913" y="3428974"/>
            <a:ext cx="7258050" cy="0"/>
          </a:xfrm>
          <a:prstGeom prst="line">
            <a:avLst/>
          </a:prstGeom>
          <a:ln w="3175" cap="sq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B434199-24E9-437E-A9B7-87FAB8BD6479}"/>
              </a:ext>
            </a:extLst>
          </p:cNvPr>
          <p:cNvCxnSpPr/>
          <p:nvPr/>
        </p:nvCxnSpPr>
        <p:spPr>
          <a:xfrm>
            <a:off x="442913" y="2330289"/>
            <a:ext cx="7258050" cy="0"/>
          </a:xfrm>
          <a:prstGeom prst="line">
            <a:avLst/>
          </a:prstGeom>
          <a:ln w="3175" cap="sq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pic>
        <p:nvPicPr>
          <p:cNvPr id="11275" name="Picture 11">
            <a:extLst>
              <a:ext uri="{FF2B5EF4-FFF2-40B4-BE49-F238E27FC236}">
                <a16:creationId xmlns:a16="http://schemas.microsoft.com/office/drawing/2014/main" id="{32E5E07D-1D0C-41D7-BCFF-0AD6620E8C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331282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7D9CFE-F92E-4E3E-AADF-1C650152978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pl-PL" sz="320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8CCDD38-345B-45BD-A3AF-DC1BD117206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3748" r="25115"/>
          <a:stretch/>
        </p:blipFill>
        <p:spPr>
          <a:xfrm>
            <a:off x="7958619" y="0"/>
            <a:ext cx="4233379" cy="685800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C935AB49-71B8-46C0-AC3B-69F60B176F8C}"/>
              </a:ext>
            </a:extLst>
          </p:cNvPr>
          <p:cNvSpPr/>
          <p:nvPr/>
        </p:nvSpPr>
        <p:spPr>
          <a:xfrm>
            <a:off x="7958619" y="0"/>
            <a:ext cx="4233834" cy="6858000"/>
          </a:xfrm>
          <a:prstGeom prst="rect">
            <a:avLst/>
          </a:prstGeom>
          <a:solidFill>
            <a:schemeClr val="tx1">
              <a:alpha val="16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pl-PL" sz="16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Stanowisko organu interpretacyjnego</a:t>
            </a:r>
            <a:endParaRPr lang="en-GB" b="0" i="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3</a:t>
            </a:fld>
            <a:endParaRPr lang="en-GB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1520AC2-4694-4A8E-9ED2-72114016F72C}"/>
              </a:ext>
            </a:extLst>
          </p:cNvPr>
          <p:cNvGrpSpPr/>
          <p:nvPr/>
        </p:nvGrpSpPr>
        <p:grpSpPr>
          <a:xfrm>
            <a:off x="442912" y="1673225"/>
            <a:ext cx="6694487" cy="646331"/>
            <a:chOff x="442912" y="1673225"/>
            <a:chExt cx="6694487" cy="646331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4A8CB114-46D6-491B-80C8-8C670AFA5694}"/>
                </a:ext>
              </a:extLst>
            </p:cNvPr>
            <p:cNvSpPr txBox="1"/>
            <p:nvPr/>
          </p:nvSpPr>
          <p:spPr>
            <a:xfrm>
              <a:off x="713734" y="1673225"/>
              <a:ext cx="6423665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pl-PL" sz="1400" dirty="0"/>
                <a:t>Organ interpretacyjny uznał, że uchylenie odpowiedzialności podatnika w oparciu o art. 26a ordynacji podatkowej nie może mieć miejsca jeśli podatnik nie miał obowiązku poboru zaliczki</a:t>
              </a:r>
            </a:p>
          </p:txBody>
        </p:sp>
        <p:sp>
          <p:nvSpPr>
            <p:cNvPr id="21" name="Freeform 13">
              <a:extLst>
                <a:ext uri="{FF2B5EF4-FFF2-40B4-BE49-F238E27FC236}">
                  <a16:creationId xmlns:a16="http://schemas.microsoft.com/office/drawing/2014/main" id="{83E7DA56-265F-4EE4-8C96-2E8C58955DA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2912" y="1673268"/>
              <a:ext cx="128587" cy="204811"/>
            </a:xfrm>
            <a:custGeom>
              <a:avLst/>
              <a:gdLst>
                <a:gd name="T0" fmla="*/ 34 w 128"/>
                <a:gd name="T1" fmla="*/ 197 h 204"/>
                <a:gd name="T2" fmla="*/ 128 w 128"/>
                <a:gd name="T3" fmla="*/ 102 h 204"/>
                <a:gd name="T4" fmla="*/ 34 w 128"/>
                <a:gd name="T5" fmla="*/ 8 h 204"/>
                <a:gd name="T6" fmla="*/ 7 w 128"/>
                <a:gd name="T7" fmla="*/ 8 h 204"/>
                <a:gd name="T8" fmla="*/ 7 w 128"/>
                <a:gd name="T9" fmla="*/ 34 h 204"/>
                <a:gd name="T10" fmla="*/ 75 w 128"/>
                <a:gd name="T11" fmla="*/ 102 h 204"/>
                <a:gd name="T12" fmla="*/ 7 w 128"/>
                <a:gd name="T13" fmla="*/ 170 h 204"/>
                <a:gd name="T14" fmla="*/ 2 w 128"/>
                <a:gd name="T15" fmla="*/ 183 h 204"/>
                <a:gd name="T16" fmla="*/ 7 w 128"/>
                <a:gd name="T17" fmla="*/ 197 h 204"/>
                <a:gd name="T18" fmla="*/ 34 w 128"/>
                <a:gd name="T19" fmla="*/ 197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204">
                  <a:moveTo>
                    <a:pt x="34" y="197"/>
                  </a:moveTo>
                  <a:cubicBezTo>
                    <a:pt x="128" y="102"/>
                    <a:pt x="128" y="102"/>
                    <a:pt x="128" y="102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26" y="0"/>
                    <a:pt x="15" y="0"/>
                    <a:pt x="7" y="8"/>
                  </a:cubicBezTo>
                  <a:cubicBezTo>
                    <a:pt x="0" y="15"/>
                    <a:pt x="0" y="27"/>
                    <a:pt x="7" y="34"/>
                  </a:cubicBezTo>
                  <a:cubicBezTo>
                    <a:pt x="75" y="102"/>
                    <a:pt x="75" y="102"/>
                    <a:pt x="75" y="102"/>
                  </a:cubicBezTo>
                  <a:cubicBezTo>
                    <a:pt x="7" y="170"/>
                    <a:pt x="7" y="170"/>
                    <a:pt x="7" y="170"/>
                  </a:cubicBezTo>
                  <a:cubicBezTo>
                    <a:pt x="4" y="174"/>
                    <a:pt x="2" y="179"/>
                    <a:pt x="2" y="183"/>
                  </a:cubicBezTo>
                  <a:cubicBezTo>
                    <a:pt x="2" y="188"/>
                    <a:pt x="4" y="193"/>
                    <a:pt x="7" y="197"/>
                  </a:cubicBezTo>
                  <a:cubicBezTo>
                    <a:pt x="15" y="204"/>
                    <a:pt x="26" y="204"/>
                    <a:pt x="34" y="197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8340083-F41A-4C6A-A6B5-18565109B64F}"/>
              </a:ext>
            </a:extLst>
          </p:cNvPr>
          <p:cNvGrpSpPr/>
          <p:nvPr/>
        </p:nvGrpSpPr>
        <p:grpSpPr>
          <a:xfrm>
            <a:off x="442912" y="2771910"/>
            <a:ext cx="6694487" cy="430887"/>
            <a:chOff x="442912" y="2501900"/>
            <a:chExt cx="6694487" cy="430887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8E7D91D8-2E16-4420-BECD-AC4B072107CF}"/>
                </a:ext>
              </a:extLst>
            </p:cNvPr>
            <p:cNvSpPr txBox="1"/>
            <p:nvPr/>
          </p:nvSpPr>
          <p:spPr>
            <a:xfrm>
              <a:off x="713734" y="2501900"/>
              <a:ext cx="6423665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pl-PL" sz="1400" dirty="0"/>
                <a:t>Z ochrony z tytułu zastosowania się do zmienionej następnie interpretacji indywidualnej może skorzystać wnioskodawca, czyli płatnik, a nie podatnik</a:t>
              </a:r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9572A96C-299F-4649-8EB8-13D62CD475A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2912" y="2502579"/>
              <a:ext cx="128587" cy="204811"/>
            </a:xfrm>
            <a:custGeom>
              <a:avLst/>
              <a:gdLst>
                <a:gd name="T0" fmla="*/ 34 w 128"/>
                <a:gd name="T1" fmla="*/ 197 h 204"/>
                <a:gd name="T2" fmla="*/ 128 w 128"/>
                <a:gd name="T3" fmla="*/ 102 h 204"/>
                <a:gd name="T4" fmla="*/ 34 w 128"/>
                <a:gd name="T5" fmla="*/ 8 h 204"/>
                <a:gd name="T6" fmla="*/ 7 w 128"/>
                <a:gd name="T7" fmla="*/ 8 h 204"/>
                <a:gd name="T8" fmla="*/ 7 w 128"/>
                <a:gd name="T9" fmla="*/ 34 h 204"/>
                <a:gd name="T10" fmla="*/ 75 w 128"/>
                <a:gd name="T11" fmla="*/ 102 h 204"/>
                <a:gd name="T12" fmla="*/ 7 w 128"/>
                <a:gd name="T13" fmla="*/ 170 h 204"/>
                <a:gd name="T14" fmla="*/ 2 w 128"/>
                <a:gd name="T15" fmla="*/ 183 h 204"/>
                <a:gd name="T16" fmla="*/ 7 w 128"/>
                <a:gd name="T17" fmla="*/ 197 h 204"/>
                <a:gd name="T18" fmla="*/ 34 w 128"/>
                <a:gd name="T19" fmla="*/ 197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204">
                  <a:moveTo>
                    <a:pt x="34" y="197"/>
                  </a:moveTo>
                  <a:cubicBezTo>
                    <a:pt x="128" y="102"/>
                    <a:pt x="128" y="102"/>
                    <a:pt x="128" y="102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26" y="0"/>
                    <a:pt x="15" y="0"/>
                    <a:pt x="7" y="8"/>
                  </a:cubicBezTo>
                  <a:cubicBezTo>
                    <a:pt x="0" y="15"/>
                    <a:pt x="0" y="27"/>
                    <a:pt x="7" y="34"/>
                  </a:cubicBezTo>
                  <a:cubicBezTo>
                    <a:pt x="75" y="102"/>
                    <a:pt x="75" y="102"/>
                    <a:pt x="75" y="102"/>
                  </a:cubicBezTo>
                  <a:cubicBezTo>
                    <a:pt x="7" y="170"/>
                    <a:pt x="7" y="170"/>
                    <a:pt x="7" y="170"/>
                  </a:cubicBezTo>
                  <a:cubicBezTo>
                    <a:pt x="4" y="174"/>
                    <a:pt x="2" y="179"/>
                    <a:pt x="2" y="183"/>
                  </a:cubicBezTo>
                  <a:cubicBezTo>
                    <a:pt x="2" y="188"/>
                    <a:pt x="4" y="193"/>
                    <a:pt x="7" y="197"/>
                  </a:cubicBezTo>
                  <a:cubicBezTo>
                    <a:pt x="15" y="204"/>
                    <a:pt x="26" y="204"/>
                    <a:pt x="34" y="197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C9FD9F9-D6D1-4442-84A4-D0146085BA08}"/>
              </a:ext>
            </a:extLst>
          </p:cNvPr>
          <p:cNvGrpSpPr/>
          <p:nvPr/>
        </p:nvGrpSpPr>
        <p:grpSpPr>
          <a:xfrm>
            <a:off x="442912" y="3655151"/>
            <a:ext cx="6694487" cy="431160"/>
            <a:chOff x="442912" y="3331890"/>
            <a:chExt cx="6694487" cy="431160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3DA04608-F05D-476B-BBBF-29FCD884C13B}"/>
                </a:ext>
              </a:extLst>
            </p:cNvPr>
            <p:cNvSpPr txBox="1"/>
            <p:nvPr/>
          </p:nvSpPr>
          <p:spPr>
            <a:xfrm>
              <a:off x="713734" y="3332163"/>
              <a:ext cx="6423665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pl-PL" sz="1400" dirty="0"/>
                <a:t>Podatnik musi wykazać w rocznym zeznaniu wszystkie dochody, niezależnie czy płatnik pobrał podatek, czy nie</a:t>
              </a:r>
            </a:p>
          </p:txBody>
        </p:sp>
        <p:sp>
          <p:nvSpPr>
            <p:cNvPr id="27" name="Freeform 13">
              <a:extLst>
                <a:ext uri="{FF2B5EF4-FFF2-40B4-BE49-F238E27FC236}">
                  <a16:creationId xmlns:a16="http://schemas.microsoft.com/office/drawing/2014/main" id="{4F91AD60-32B6-4DBC-A70F-DA42D21D346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2912" y="3331890"/>
              <a:ext cx="128587" cy="204811"/>
            </a:xfrm>
            <a:custGeom>
              <a:avLst/>
              <a:gdLst>
                <a:gd name="T0" fmla="*/ 34 w 128"/>
                <a:gd name="T1" fmla="*/ 197 h 204"/>
                <a:gd name="T2" fmla="*/ 128 w 128"/>
                <a:gd name="T3" fmla="*/ 102 h 204"/>
                <a:gd name="T4" fmla="*/ 34 w 128"/>
                <a:gd name="T5" fmla="*/ 8 h 204"/>
                <a:gd name="T6" fmla="*/ 7 w 128"/>
                <a:gd name="T7" fmla="*/ 8 h 204"/>
                <a:gd name="T8" fmla="*/ 7 w 128"/>
                <a:gd name="T9" fmla="*/ 34 h 204"/>
                <a:gd name="T10" fmla="*/ 75 w 128"/>
                <a:gd name="T11" fmla="*/ 102 h 204"/>
                <a:gd name="T12" fmla="*/ 7 w 128"/>
                <a:gd name="T13" fmla="*/ 170 h 204"/>
                <a:gd name="T14" fmla="*/ 2 w 128"/>
                <a:gd name="T15" fmla="*/ 183 h 204"/>
                <a:gd name="T16" fmla="*/ 7 w 128"/>
                <a:gd name="T17" fmla="*/ 197 h 204"/>
                <a:gd name="T18" fmla="*/ 34 w 128"/>
                <a:gd name="T19" fmla="*/ 197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204">
                  <a:moveTo>
                    <a:pt x="34" y="197"/>
                  </a:moveTo>
                  <a:cubicBezTo>
                    <a:pt x="128" y="102"/>
                    <a:pt x="128" y="102"/>
                    <a:pt x="128" y="102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26" y="0"/>
                    <a:pt x="15" y="0"/>
                    <a:pt x="7" y="8"/>
                  </a:cubicBezTo>
                  <a:cubicBezTo>
                    <a:pt x="0" y="15"/>
                    <a:pt x="0" y="27"/>
                    <a:pt x="7" y="34"/>
                  </a:cubicBezTo>
                  <a:cubicBezTo>
                    <a:pt x="75" y="102"/>
                    <a:pt x="75" y="102"/>
                    <a:pt x="75" y="102"/>
                  </a:cubicBezTo>
                  <a:cubicBezTo>
                    <a:pt x="7" y="170"/>
                    <a:pt x="7" y="170"/>
                    <a:pt x="7" y="170"/>
                  </a:cubicBezTo>
                  <a:cubicBezTo>
                    <a:pt x="4" y="174"/>
                    <a:pt x="2" y="179"/>
                    <a:pt x="2" y="183"/>
                  </a:cubicBezTo>
                  <a:cubicBezTo>
                    <a:pt x="2" y="188"/>
                    <a:pt x="4" y="193"/>
                    <a:pt x="7" y="197"/>
                  </a:cubicBezTo>
                  <a:cubicBezTo>
                    <a:pt x="15" y="204"/>
                    <a:pt x="26" y="204"/>
                    <a:pt x="34" y="197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F449222-B928-4A73-B91B-AA83FC0DD82E}"/>
              </a:ext>
            </a:extLst>
          </p:cNvPr>
          <p:cNvCxnSpPr/>
          <p:nvPr/>
        </p:nvCxnSpPr>
        <p:spPr>
          <a:xfrm>
            <a:off x="442913" y="3428974"/>
            <a:ext cx="7258050" cy="0"/>
          </a:xfrm>
          <a:prstGeom prst="line">
            <a:avLst/>
          </a:prstGeom>
          <a:ln w="3175" cap="sq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B8904F1-3CA1-406B-9502-B71675C50D58}"/>
              </a:ext>
            </a:extLst>
          </p:cNvPr>
          <p:cNvCxnSpPr/>
          <p:nvPr/>
        </p:nvCxnSpPr>
        <p:spPr>
          <a:xfrm>
            <a:off x="442913" y="2545733"/>
            <a:ext cx="7258050" cy="0"/>
          </a:xfrm>
          <a:prstGeom prst="line">
            <a:avLst/>
          </a:prstGeom>
          <a:ln w="3175" cap="sq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pic>
        <p:nvPicPr>
          <p:cNvPr id="12300" name="Picture 12">
            <a:extLst>
              <a:ext uri="{FF2B5EF4-FFF2-40B4-BE49-F238E27FC236}">
                <a16:creationId xmlns:a16="http://schemas.microsoft.com/office/drawing/2014/main" id="{10A400DF-0DD4-4E75-9D5A-5C2D6AFD7E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697405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E5941A7-2F29-4240-9FB5-BEAFFC32159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pl-PL" sz="320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C70DB53-32C2-4591-B521-9B29D7AF620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4277" t="775" r="10415" b="13394"/>
          <a:stretch/>
        </p:blipFill>
        <p:spPr>
          <a:xfrm>
            <a:off x="7958618" y="0"/>
            <a:ext cx="4233381" cy="6858000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8348B7FB-CDE0-47FA-AAF8-714BD3B9B512}"/>
              </a:ext>
            </a:extLst>
          </p:cNvPr>
          <p:cNvSpPr/>
          <p:nvPr/>
        </p:nvSpPr>
        <p:spPr>
          <a:xfrm>
            <a:off x="7958619" y="0"/>
            <a:ext cx="4233834" cy="6858000"/>
          </a:xfrm>
          <a:prstGeom prst="rect">
            <a:avLst/>
          </a:prstGeom>
          <a:solidFill>
            <a:schemeClr val="tx1">
              <a:alpha val="16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pl-PL" sz="160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Stanowisko WSA we Wrocławiu</a:t>
            </a:r>
            <a:endParaRPr lang="en-GB" b="0" i="0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78DB991-403E-4B06-8071-EC7D6EDBBC34}"/>
              </a:ext>
            </a:extLst>
          </p:cNvPr>
          <p:cNvGrpSpPr/>
          <p:nvPr/>
        </p:nvGrpSpPr>
        <p:grpSpPr>
          <a:xfrm>
            <a:off x="442912" y="1673225"/>
            <a:ext cx="6694487" cy="430887"/>
            <a:chOff x="442912" y="1673225"/>
            <a:chExt cx="6694487" cy="430887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3E254172-F990-4C59-8342-A2A51AACBB40}"/>
                </a:ext>
              </a:extLst>
            </p:cNvPr>
            <p:cNvSpPr txBox="1"/>
            <p:nvPr/>
          </p:nvSpPr>
          <p:spPr>
            <a:xfrm>
              <a:off x="713734" y="1673225"/>
              <a:ext cx="6423665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pl-PL" sz="1400" dirty="0"/>
                <a:t>WSA we Wrocławiu w wyroku z dnia 6 czerwca 2017 r., sygn. akt I SA/</a:t>
              </a:r>
              <a:r>
                <a:rPr lang="pl-PL" sz="1400" dirty="0" err="1"/>
                <a:t>Wr</a:t>
              </a:r>
              <a:r>
                <a:rPr lang="pl-PL" sz="1400" dirty="0"/>
                <a:t> 261/17, oddalił skargę podatnika</a:t>
              </a:r>
            </a:p>
          </p:txBody>
        </p:sp>
        <p:sp>
          <p:nvSpPr>
            <p:cNvPr id="21" name="Freeform 13">
              <a:extLst>
                <a:ext uri="{FF2B5EF4-FFF2-40B4-BE49-F238E27FC236}">
                  <a16:creationId xmlns:a16="http://schemas.microsoft.com/office/drawing/2014/main" id="{EFB22F42-52FB-4D22-8707-FA4FA46A053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2912" y="1673268"/>
              <a:ext cx="128587" cy="204811"/>
            </a:xfrm>
            <a:custGeom>
              <a:avLst/>
              <a:gdLst>
                <a:gd name="T0" fmla="*/ 34 w 128"/>
                <a:gd name="T1" fmla="*/ 197 h 204"/>
                <a:gd name="T2" fmla="*/ 128 w 128"/>
                <a:gd name="T3" fmla="*/ 102 h 204"/>
                <a:gd name="T4" fmla="*/ 34 w 128"/>
                <a:gd name="T5" fmla="*/ 8 h 204"/>
                <a:gd name="T6" fmla="*/ 7 w 128"/>
                <a:gd name="T7" fmla="*/ 8 h 204"/>
                <a:gd name="T8" fmla="*/ 7 w 128"/>
                <a:gd name="T9" fmla="*/ 34 h 204"/>
                <a:gd name="T10" fmla="*/ 75 w 128"/>
                <a:gd name="T11" fmla="*/ 102 h 204"/>
                <a:gd name="T12" fmla="*/ 7 w 128"/>
                <a:gd name="T13" fmla="*/ 170 h 204"/>
                <a:gd name="T14" fmla="*/ 2 w 128"/>
                <a:gd name="T15" fmla="*/ 183 h 204"/>
                <a:gd name="T16" fmla="*/ 7 w 128"/>
                <a:gd name="T17" fmla="*/ 197 h 204"/>
                <a:gd name="T18" fmla="*/ 34 w 128"/>
                <a:gd name="T19" fmla="*/ 197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204">
                  <a:moveTo>
                    <a:pt x="34" y="197"/>
                  </a:moveTo>
                  <a:cubicBezTo>
                    <a:pt x="128" y="102"/>
                    <a:pt x="128" y="102"/>
                    <a:pt x="128" y="102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26" y="0"/>
                    <a:pt x="15" y="0"/>
                    <a:pt x="7" y="8"/>
                  </a:cubicBezTo>
                  <a:cubicBezTo>
                    <a:pt x="0" y="15"/>
                    <a:pt x="0" y="27"/>
                    <a:pt x="7" y="34"/>
                  </a:cubicBezTo>
                  <a:cubicBezTo>
                    <a:pt x="75" y="102"/>
                    <a:pt x="75" y="102"/>
                    <a:pt x="75" y="102"/>
                  </a:cubicBezTo>
                  <a:cubicBezTo>
                    <a:pt x="7" y="170"/>
                    <a:pt x="7" y="170"/>
                    <a:pt x="7" y="170"/>
                  </a:cubicBezTo>
                  <a:cubicBezTo>
                    <a:pt x="4" y="174"/>
                    <a:pt x="2" y="179"/>
                    <a:pt x="2" y="183"/>
                  </a:cubicBezTo>
                  <a:cubicBezTo>
                    <a:pt x="2" y="188"/>
                    <a:pt x="4" y="193"/>
                    <a:pt x="7" y="197"/>
                  </a:cubicBezTo>
                  <a:cubicBezTo>
                    <a:pt x="15" y="204"/>
                    <a:pt x="26" y="204"/>
                    <a:pt x="34" y="197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1606DD6-7359-49E1-9058-D4370AAB9273}"/>
              </a:ext>
            </a:extLst>
          </p:cNvPr>
          <p:cNvGrpSpPr/>
          <p:nvPr/>
        </p:nvGrpSpPr>
        <p:grpSpPr>
          <a:xfrm>
            <a:off x="442912" y="2448744"/>
            <a:ext cx="6694487" cy="861774"/>
            <a:chOff x="442912" y="2501900"/>
            <a:chExt cx="6694487" cy="861774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2355C262-105A-4FD7-ABA9-84C5BE754636}"/>
                </a:ext>
              </a:extLst>
            </p:cNvPr>
            <p:cNvSpPr txBox="1"/>
            <p:nvPr/>
          </p:nvSpPr>
          <p:spPr>
            <a:xfrm>
              <a:off x="713734" y="2501900"/>
              <a:ext cx="6423665" cy="8617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pl-PL" sz="1400" dirty="0"/>
                <a:t>Sąd stwierdził, że uchylenie odpowiedzialności podatkowej podatnika na mocy art. 26a §1 ordynacji podatkowej nie może mieć miejsca w sytuacji zaniżenia lub nieujawnienia podstawy opodatkowania, jeśli płatnik nie miał obowiązku poboru zaliczki</a:t>
              </a:r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CAAF67FC-20A2-48D0-8E40-EF7EB0C3F07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2912" y="2502579"/>
              <a:ext cx="128587" cy="204811"/>
            </a:xfrm>
            <a:custGeom>
              <a:avLst/>
              <a:gdLst>
                <a:gd name="T0" fmla="*/ 34 w 128"/>
                <a:gd name="T1" fmla="*/ 197 h 204"/>
                <a:gd name="T2" fmla="*/ 128 w 128"/>
                <a:gd name="T3" fmla="*/ 102 h 204"/>
                <a:gd name="T4" fmla="*/ 34 w 128"/>
                <a:gd name="T5" fmla="*/ 8 h 204"/>
                <a:gd name="T6" fmla="*/ 7 w 128"/>
                <a:gd name="T7" fmla="*/ 8 h 204"/>
                <a:gd name="T8" fmla="*/ 7 w 128"/>
                <a:gd name="T9" fmla="*/ 34 h 204"/>
                <a:gd name="T10" fmla="*/ 75 w 128"/>
                <a:gd name="T11" fmla="*/ 102 h 204"/>
                <a:gd name="T12" fmla="*/ 7 w 128"/>
                <a:gd name="T13" fmla="*/ 170 h 204"/>
                <a:gd name="T14" fmla="*/ 2 w 128"/>
                <a:gd name="T15" fmla="*/ 183 h 204"/>
                <a:gd name="T16" fmla="*/ 7 w 128"/>
                <a:gd name="T17" fmla="*/ 197 h 204"/>
                <a:gd name="T18" fmla="*/ 34 w 128"/>
                <a:gd name="T19" fmla="*/ 197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204">
                  <a:moveTo>
                    <a:pt x="34" y="197"/>
                  </a:moveTo>
                  <a:cubicBezTo>
                    <a:pt x="128" y="102"/>
                    <a:pt x="128" y="102"/>
                    <a:pt x="128" y="102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26" y="0"/>
                    <a:pt x="15" y="0"/>
                    <a:pt x="7" y="8"/>
                  </a:cubicBezTo>
                  <a:cubicBezTo>
                    <a:pt x="0" y="15"/>
                    <a:pt x="0" y="27"/>
                    <a:pt x="7" y="34"/>
                  </a:cubicBezTo>
                  <a:cubicBezTo>
                    <a:pt x="75" y="102"/>
                    <a:pt x="75" y="102"/>
                    <a:pt x="75" y="102"/>
                  </a:cubicBezTo>
                  <a:cubicBezTo>
                    <a:pt x="7" y="170"/>
                    <a:pt x="7" y="170"/>
                    <a:pt x="7" y="170"/>
                  </a:cubicBezTo>
                  <a:cubicBezTo>
                    <a:pt x="4" y="174"/>
                    <a:pt x="2" y="179"/>
                    <a:pt x="2" y="183"/>
                  </a:cubicBezTo>
                  <a:cubicBezTo>
                    <a:pt x="2" y="188"/>
                    <a:pt x="4" y="193"/>
                    <a:pt x="7" y="197"/>
                  </a:cubicBezTo>
                  <a:cubicBezTo>
                    <a:pt x="15" y="204"/>
                    <a:pt x="26" y="204"/>
                    <a:pt x="34" y="197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ECC8B60-95D2-4A5C-84B7-2124C84A88F8}"/>
              </a:ext>
            </a:extLst>
          </p:cNvPr>
          <p:cNvGrpSpPr/>
          <p:nvPr/>
        </p:nvGrpSpPr>
        <p:grpSpPr>
          <a:xfrm>
            <a:off x="442912" y="3655151"/>
            <a:ext cx="6694487" cy="646604"/>
            <a:chOff x="442912" y="3331890"/>
            <a:chExt cx="6694487" cy="646604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90ACE8F1-85CD-4FC4-9C6E-4E115E69F1C0}"/>
                </a:ext>
              </a:extLst>
            </p:cNvPr>
            <p:cNvSpPr txBox="1"/>
            <p:nvPr/>
          </p:nvSpPr>
          <p:spPr>
            <a:xfrm>
              <a:off x="713734" y="3332163"/>
              <a:ext cx="6423665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pl-PL" sz="1400" dirty="0"/>
                <a:t>Płatnik, w sytuacji objętej hipotezą normy prawnej zawartej w art. 14m §1 Ordynacji podatkowej, był zwolniony z obowiązków określonych w art. 8 tej ustawy, a zatem z obowiązku obliczenia, pobrania i wpłacenia podatku</a:t>
              </a:r>
            </a:p>
          </p:txBody>
        </p:sp>
        <p:sp>
          <p:nvSpPr>
            <p:cNvPr id="27" name="Freeform 13">
              <a:extLst>
                <a:ext uri="{FF2B5EF4-FFF2-40B4-BE49-F238E27FC236}">
                  <a16:creationId xmlns:a16="http://schemas.microsoft.com/office/drawing/2014/main" id="{80DE5A61-BA8C-45F9-8496-1E7839D3CD1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2912" y="3331890"/>
              <a:ext cx="128587" cy="204811"/>
            </a:xfrm>
            <a:custGeom>
              <a:avLst/>
              <a:gdLst>
                <a:gd name="T0" fmla="*/ 34 w 128"/>
                <a:gd name="T1" fmla="*/ 197 h 204"/>
                <a:gd name="T2" fmla="*/ 128 w 128"/>
                <a:gd name="T3" fmla="*/ 102 h 204"/>
                <a:gd name="T4" fmla="*/ 34 w 128"/>
                <a:gd name="T5" fmla="*/ 8 h 204"/>
                <a:gd name="T6" fmla="*/ 7 w 128"/>
                <a:gd name="T7" fmla="*/ 8 h 204"/>
                <a:gd name="T8" fmla="*/ 7 w 128"/>
                <a:gd name="T9" fmla="*/ 34 h 204"/>
                <a:gd name="T10" fmla="*/ 75 w 128"/>
                <a:gd name="T11" fmla="*/ 102 h 204"/>
                <a:gd name="T12" fmla="*/ 7 w 128"/>
                <a:gd name="T13" fmla="*/ 170 h 204"/>
                <a:gd name="T14" fmla="*/ 2 w 128"/>
                <a:gd name="T15" fmla="*/ 183 h 204"/>
                <a:gd name="T16" fmla="*/ 7 w 128"/>
                <a:gd name="T17" fmla="*/ 197 h 204"/>
                <a:gd name="T18" fmla="*/ 34 w 128"/>
                <a:gd name="T19" fmla="*/ 197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204">
                  <a:moveTo>
                    <a:pt x="34" y="197"/>
                  </a:moveTo>
                  <a:cubicBezTo>
                    <a:pt x="128" y="102"/>
                    <a:pt x="128" y="102"/>
                    <a:pt x="128" y="102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26" y="0"/>
                    <a:pt x="15" y="0"/>
                    <a:pt x="7" y="8"/>
                  </a:cubicBezTo>
                  <a:cubicBezTo>
                    <a:pt x="0" y="15"/>
                    <a:pt x="0" y="27"/>
                    <a:pt x="7" y="34"/>
                  </a:cubicBezTo>
                  <a:cubicBezTo>
                    <a:pt x="75" y="102"/>
                    <a:pt x="75" y="102"/>
                    <a:pt x="75" y="102"/>
                  </a:cubicBezTo>
                  <a:cubicBezTo>
                    <a:pt x="7" y="170"/>
                    <a:pt x="7" y="170"/>
                    <a:pt x="7" y="170"/>
                  </a:cubicBezTo>
                  <a:cubicBezTo>
                    <a:pt x="4" y="174"/>
                    <a:pt x="2" y="179"/>
                    <a:pt x="2" y="183"/>
                  </a:cubicBezTo>
                  <a:cubicBezTo>
                    <a:pt x="2" y="188"/>
                    <a:pt x="4" y="193"/>
                    <a:pt x="7" y="197"/>
                  </a:cubicBezTo>
                  <a:cubicBezTo>
                    <a:pt x="15" y="204"/>
                    <a:pt x="26" y="204"/>
                    <a:pt x="34" y="197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1400"/>
            </a:p>
          </p:txBody>
        </p:sp>
      </p:grp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61AEDB2-6864-4CDF-AAE0-221F8453D226}"/>
              </a:ext>
            </a:extLst>
          </p:cNvPr>
          <p:cNvCxnSpPr/>
          <p:nvPr/>
        </p:nvCxnSpPr>
        <p:spPr>
          <a:xfrm>
            <a:off x="442913" y="3482834"/>
            <a:ext cx="7258050" cy="0"/>
          </a:xfrm>
          <a:prstGeom prst="line">
            <a:avLst/>
          </a:prstGeom>
          <a:ln w="3175" cap="sq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CD2CE74-E348-4680-AA36-9DB366A0685F}"/>
              </a:ext>
            </a:extLst>
          </p:cNvPr>
          <p:cNvCxnSpPr/>
          <p:nvPr/>
        </p:nvCxnSpPr>
        <p:spPr>
          <a:xfrm>
            <a:off x="442913" y="2276428"/>
            <a:ext cx="7258050" cy="0"/>
          </a:xfrm>
          <a:prstGeom prst="line">
            <a:avLst/>
          </a:prstGeom>
          <a:ln w="3175" cap="sq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pic>
        <p:nvPicPr>
          <p:cNvPr id="15371" name="Picture 11">
            <a:extLst>
              <a:ext uri="{FF2B5EF4-FFF2-40B4-BE49-F238E27FC236}">
                <a16:creationId xmlns:a16="http://schemas.microsoft.com/office/drawing/2014/main" id="{FB446CEF-0F13-434A-9D4D-E3EAD1C997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509698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8149627-FAA2-4280-909E-EE3855A52D8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pl-PL" sz="320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Stanowisko NSA w komentowanym wyroku</a:t>
            </a:r>
            <a:endParaRPr lang="en-GB" b="0" i="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D83325F-4FE7-4E2A-9DC4-DD13E861C1A8}"/>
              </a:ext>
            </a:extLst>
          </p:cNvPr>
          <p:cNvSpPr txBox="1"/>
          <p:nvPr/>
        </p:nvSpPr>
        <p:spPr>
          <a:xfrm>
            <a:off x="442913" y="2934764"/>
            <a:ext cx="6559199" cy="25853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400" dirty="0"/>
              <a:t>„W ocenie Naczelnego Sądu Administracyjnego, przepis art. 26a § 1 </a:t>
            </a:r>
            <a:r>
              <a:rPr lang="pl-PL" sz="1400" dirty="0" err="1"/>
              <a:t>o.p</a:t>
            </a:r>
            <a:r>
              <a:rPr lang="pl-PL" sz="1400" dirty="0"/>
              <a:t>. należy rozumieć w ten sposób, że wyklucza odpowiedzialność podatnika zarówno za zaliczkę, jak również za tę część zobowiązania rocznego, która odpowiada kwocie zaliczki niepobranej przez płatnika w warunkach uregulowanych w tym przepisie. W konsekwencji za część zobowiązania, za którą nie odpowiada podatnik, odpowiedzialność stosownie do treści art. 30 § 1 </a:t>
            </a:r>
            <a:r>
              <a:rPr lang="pl-PL" sz="1400" dirty="0" err="1"/>
              <a:t>o.p</a:t>
            </a:r>
            <a:r>
              <a:rPr lang="pl-PL" sz="1400" dirty="0"/>
              <a:t>. ponosi płatnik. Wynikająca z art. 14k i art. 14m w zw. z art. 14p </a:t>
            </a:r>
            <a:r>
              <a:rPr lang="pl-PL" sz="1400" dirty="0" err="1"/>
              <a:t>o.p</a:t>
            </a:r>
            <a:r>
              <a:rPr lang="pl-PL" sz="1400" dirty="0"/>
              <a:t>. ochrona płatnika - który otrzymał interpretację indywidualną, następnie zmienioną, do której zastosował się przed jej zmianą - nie oznacza, że odpowiedzialność za zaniżenie lub nieujawnienie przez płatnika podstawy opodatkowania czynności, o których mowa w art. 12, 13 i 18 </a:t>
            </a:r>
            <a:r>
              <a:rPr lang="pl-PL" sz="1400" dirty="0" err="1"/>
              <a:t>u.p.d.o.f</a:t>
            </a:r>
            <a:r>
              <a:rPr lang="pl-PL" sz="1400" dirty="0"/>
              <a:t>., do którego doszło na skutek błędnej interpretacji indywidualnej, ponosi podatnik.”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9078ABC3-EB96-4940-821D-B4C546518EEF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442913" y="1926695"/>
            <a:ext cx="970251" cy="756407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chemeClr val="accent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2774975-64F9-4ABB-A204-EC27820A580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F375C8A-F0B0-4339-964F-53F114F1F7C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58619" y="0"/>
            <a:ext cx="4233833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9E7C6A8-774C-4FEC-AAEC-19374171F084}"/>
              </a:ext>
            </a:extLst>
          </p:cNvPr>
          <p:cNvSpPr/>
          <p:nvPr/>
        </p:nvSpPr>
        <p:spPr>
          <a:xfrm>
            <a:off x="7958619" y="0"/>
            <a:ext cx="4233834" cy="6858000"/>
          </a:xfrm>
          <a:prstGeom prst="rect">
            <a:avLst/>
          </a:prstGeom>
          <a:solidFill>
            <a:schemeClr val="tx1">
              <a:alpha val="16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pl-PL" sz="1600"/>
          </a:p>
        </p:txBody>
      </p:sp>
      <p:sp>
        <p:nvSpPr>
          <p:cNvPr id="13" name="Google Shape;342;p28">
            <a:extLst>
              <a:ext uri="{FF2B5EF4-FFF2-40B4-BE49-F238E27FC236}">
                <a16:creationId xmlns:a16="http://schemas.microsoft.com/office/drawing/2014/main" id="{8B5516E6-85A8-4A2F-835B-754E4FA5FDDC}"/>
              </a:ext>
            </a:extLst>
          </p:cNvPr>
          <p:cNvSpPr txBox="1">
            <a:spLocks noGrp="1"/>
          </p:cNvSpPr>
          <p:nvPr>
            <p:ph type="sldNum" sz="quarter" idx="11"/>
          </p:nvPr>
        </p:nvSpPr>
        <p:spPr>
          <a:xfrm>
            <a:off x="11327130" y="6400800"/>
            <a:ext cx="421958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l-PL" smtClean="0"/>
              <a:t>5</a:t>
            </a:fld>
            <a:endParaRPr lang="pl-PL" dirty="0"/>
          </a:p>
        </p:txBody>
      </p:sp>
      <p:pic>
        <p:nvPicPr>
          <p:cNvPr id="16395" name="Picture 11">
            <a:extLst>
              <a:ext uri="{FF2B5EF4-FFF2-40B4-BE49-F238E27FC236}">
                <a16:creationId xmlns:a16="http://schemas.microsoft.com/office/drawing/2014/main" id="{5540406A-FC10-4971-9C98-B4549A7EB9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603978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8149627-FAA2-4280-909E-EE3855A52D8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pl-PL" sz="320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Zdanie odrębne do komentowanego wyroku NSA</a:t>
            </a:r>
            <a:endParaRPr lang="en-GB" b="0" i="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D83325F-4FE7-4E2A-9DC4-DD13E861C1A8}"/>
              </a:ext>
            </a:extLst>
          </p:cNvPr>
          <p:cNvSpPr txBox="1"/>
          <p:nvPr/>
        </p:nvSpPr>
        <p:spPr>
          <a:xfrm>
            <a:off x="442913" y="2934764"/>
            <a:ext cx="6559199" cy="19389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400" dirty="0"/>
              <a:t>„Z wykładni art. 26 i art. 26a </a:t>
            </a:r>
            <a:r>
              <a:rPr lang="pl-PL" sz="1400" dirty="0" err="1"/>
              <a:t>o.p</a:t>
            </a:r>
            <a:r>
              <a:rPr lang="pl-PL" sz="1400" dirty="0"/>
              <a:t>. wynika, że płatnik ponosi odpowiedzialność za swoje działania (art. 8 </a:t>
            </a:r>
            <a:r>
              <a:rPr lang="pl-PL" sz="1400" dirty="0" err="1"/>
              <a:t>o.p</a:t>
            </a:r>
            <a:r>
              <a:rPr lang="pl-PL" sz="1400" dirty="0"/>
              <a:t>.) tylko wówczas, gdy zaniżył lub nie ujawnił podstawy opodatkowania przez swe zaniedbanie (także gdy nie zbadał okoliczności wskazujących na winę podatnika), a był do tego zobowiązany, a nie także wówczas, gdy do zaniżenia, czy nieujawnienia był uprawniony przez indywidualną interpretację przepisów prawa podatkowego. Nie sposób więc zgodzić się z argumentacją, że każdy przypadek zaniżenia lub nieujawnienia podstawy opodatkowania – także niezawiniony przez płatnika – prowadzi do wyłączenia odpowiedzialności podatnika, a przerzuca tę odpowiedzialność na płatnika.”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AD5013E4-3116-4524-8BFE-6058BD1A39F7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442913" y="1926695"/>
            <a:ext cx="970251" cy="756407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chemeClr val="accent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0C543F9-BA84-4384-95A5-6687C6357E5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1AC7F0A-17A2-40CE-A5D9-F5ED0501F87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58619" y="0"/>
            <a:ext cx="4233381" cy="68580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4D96355B-6D36-4392-82F6-502DE8313553}"/>
              </a:ext>
            </a:extLst>
          </p:cNvPr>
          <p:cNvSpPr/>
          <p:nvPr/>
        </p:nvSpPr>
        <p:spPr>
          <a:xfrm>
            <a:off x="7958619" y="0"/>
            <a:ext cx="4233834" cy="6858000"/>
          </a:xfrm>
          <a:prstGeom prst="rect">
            <a:avLst/>
          </a:prstGeom>
          <a:solidFill>
            <a:schemeClr val="tx1">
              <a:alpha val="16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pl-PL" sz="1600"/>
          </a:p>
        </p:txBody>
      </p:sp>
      <p:pic>
        <p:nvPicPr>
          <p:cNvPr id="17419" name="Picture 11">
            <a:extLst>
              <a:ext uri="{FF2B5EF4-FFF2-40B4-BE49-F238E27FC236}">
                <a16:creationId xmlns:a16="http://schemas.microsoft.com/office/drawing/2014/main" id="{E0EF5DF9-210E-4AB3-AB3F-056FC779FA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88907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8149627-FAA2-4280-909E-EE3855A52D8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pl-PL" sz="320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Stanowisko podobne do komentowanego wyroku</a:t>
            </a:r>
            <a:endParaRPr lang="en-GB" b="0" i="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255F7D9D-02FD-41A9-A8DB-BC9E197DB844}"/>
              </a:ext>
            </a:extLst>
          </p:cNvPr>
          <p:cNvSpPr txBox="1">
            <a:spLocks/>
          </p:cNvSpPr>
          <p:nvPr/>
        </p:nvSpPr>
        <p:spPr>
          <a:xfrm>
            <a:off x="442913" y="1455065"/>
            <a:ext cx="11306175" cy="215444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sz="1400" dirty="0"/>
              <a:t>Przykładowo: wyrok NSA z dnia 19 grudnia 2019 r., sygn. akt II FSK 3381/17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E9D5225-63F3-4EAB-A150-E4FB12077FA3}"/>
              </a:ext>
            </a:extLst>
          </p:cNvPr>
          <p:cNvSpPr txBox="1"/>
          <p:nvPr/>
        </p:nvSpPr>
        <p:spPr>
          <a:xfrm>
            <a:off x="442913" y="2934764"/>
            <a:ext cx="11306175" cy="430887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pl-PL" sz="1400" dirty="0"/>
              <a:t>„(…) zgodnie z art. 26a § 1 podatnik nie odpowiada za podatek w takim zakresie, w jakim nie został on zapłacony w wyniku wadliwie wykonanych czynności płatnika (lub niewykonania ich w ogóle) i w odniesieniu do poboru zaliczek od kwot wypłacanych z tytułu czynności, o których mowa w art. 12, 13 oraz 18 </a:t>
            </a:r>
            <a:r>
              <a:rPr lang="pl-PL" sz="1400" dirty="0" err="1"/>
              <a:t>u.p.d.o.f</a:t>
            </a:r>
            <a:r>
              <a:rPr lang="pl-PL" sz="1400" dirty="0"/>
              <a:t>. (zob. A. Olesińska, Uchylenie odpowiedzialności podatnika za zaliczki niepobrane przez płatnika, Prawo i Podatki 2007, nr 6, str. 20). Bez znaczenia jest tutaj okoliczność, że płatnik nie jest związany z </a:t>
            </a:r>
            <a:r>
              <a:rPr lang="pl-PL" sz="1400" dirty="0" err="1"/>
              <a:t>podatkowoprawnym</a:t>
            </a:r>
            <a:r>
              <a:rPr lang="pl-PL" sz="1400" dirty="0"/>
              <a:t> stanem faktycznym rodzącym obowiązek podatkowy, gdyż nałożone na niego przez prawo obowiązki mają charakter instrumentalny w stosunku do obowiązku podatkowego podatnika i służą jego realizacji.”</a:t>
            </a:r>
          </a:p>
          <a:p>
            <a:endParaRPr lang="pl-PL" sz="1400" dirty="0"/>
          </a:p>
          <a:p>
            <a:r>
              <a:rPr lang="pl-PL" sz="1400" dirty="0"/>
              <a:t>„(…) Bez wpływu na wynik dokonanej wykładni pozostaje fakt prowadzonego w sprawie postępowania interpretacyjnego zarówno na wniosek jak i z urzędu. Istotne jest tylko, że w zobiektywizowanym stanie faktycznym, płatnik (pracodawca skarżącego) miał obowiązek obliczania i pobierania zaliczek na podatek dochodowy od osób fizycznych od całości wypłacanego skarżącemu wynagrodzenia. Od wymienionego obowiązku ustawowego płatnik nie został, bo nie mógł zostać, zwolniony poprzez wydanie w stosunku do niego indywidualnej interpretacji przepisów prawa podatkowego oraz przez zastosowanie się do tej interpretacji.”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5171F04F-1AA1-4BCF-A1D2-0F80C73C45C6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442913" y="1926695"/>
            <a:ext cx="970251" cy="756407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chemeClr val="accent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 dirty="0"/>
          </a:p>
        </p:txBody>
      </p:sp>
      <p:pic>
        <p:nvPicPr>
          <p:cNvPr id="18443" name="Picture 11">
            <a:extLst>
              <a:ext uri="{FF2B5EF4-FFF2-40B4-BE49-F238E27FC236}">
                <a16:creationId xmlns:a16="http://schemas.microsoft.com/office/drawing/2014/main" id="{AB65AD0F-E36B-4ADE-BF1B-D58A5CE0E5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331721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16ADCF6-6808-4554-8D34-2CECFDA18B3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pl-PL" sz="320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610B7CB-892B-4A06-AD1F-94CAEAB999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32001"/>
            <a:ext cx="11306175" cy="990399"/>
          </a:xfrm>
        </p:spPr>
        <p:txBody>
          <a:bodyPr/>
          <a:lstStyle/>
          <a:p>
            <a:r>
              <a:rPr lang="pl-PL" dirty="0"/>
              <a:t>Główne problem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C4CC1F-0EDF-41B9-9B90-4212202536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8</a:t>
            </a:fld>
            <a:endParaRPr lang="en-GB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2C70AFD-77AA-4635-B46A-C16FF849AB06}"/>
              </a:ext>
            </a:extLst>
          </p:cNvPr>
          <p:cNvGrpSpPr/>
          <p:nvPr/>
        </p:nvGrpSpPr>
        <p:grpSpPr>
          <a:xfrm>
            <a:off x="442913" y="1696066"/>
            <a:ext cx="11306175" cy="492443"/>
            <a:chOff x="442913" y="1696066"/>
            <a:chExt cx="11306175" cy="492443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D40AB80C-30D8-4E7D-9ED3-56F8061D4BC5}"/>
                </a:ext>
              </a:extLst>
            </p:cNvPr>
            <p:cNvSpPr txBox="1"/>
            <p:nvPr/>
          </p:nvSpPr>
          <p:spPr>
            <a:xfrm>
              <a:off x="1076960" y="1696066"/>
              <a:ext cx="10672128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pl-PL" sz="1600" dirty="0"/>
                <a:t>Z jakich obowiązków zwalnia płatnika zastosowanie się do interpretacji indywidualnej? Obowiązek rozliczenia podatnika a zwolnienie z obowiązku zapłaty podatku.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935BF7F5-A090-4316-A74A-F3A18A1A5A59}"/>
                </a:ext>
              </a:extLst>
            </p:cNvPr>
            <p:cNvSpPr/>
            <p:nvPr/>
          </p:nvSpPr>
          <p:spPr>
            <a:xfrm>
              <a:off x="442913" y="1721784"/>
              <a:ext cx="441007" cy="44100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pl-PL" sz="1600" b="1" dirty="0"/>
                <a:t>1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0D70DB7-5256-4001-BC5A-9CC40B885FBA}"/>
              </a:ext>
            </a:extLst>
          </p:cNvPr>
          <p:cNvGrpSpPr/>
          <p:nvPr/>
        </p:nvGrpSpPr>
        <p:grpSpPr>
          <a:xfrm>
            <a:off x="442913" y="3286890"/>
            <a:ext cx="11306175" cy="492443"/>
            <a:chOff x="442913" y="2934437"/>
            <a:chExt cx="11306175" cy="492443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93B0F72-983F-4690-A1DB-F94659969B99}"/>
                </a:ext>
              </a:extLst>
            </p:cNvPr>
            <p:cNvSpPr txBox="1"/>
            <p:nvPr/>
          </p:nvSpPr>
          <p:spPr>
            <a:xfrm>
              <a:off x="1076960" y="2934437"/>
              <a:ext cx="10672128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pl-PL" sz="1600" dirty="0"/>
                <a:t>Kto (czy ktoś?) powinien zapłacić tę część zobowiązania rocznego, która odpowiada kwocie zaliczki niepobranej przez płatnika, jeśli płatnika chroni fakt zastosowania się do interpretacji indywidualnej?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6830A04-96AB-46DD-8352-BC4ED60D2A99}"/>
                </a:ext>
              </a:extLst>
            </p:cNvPr>
            <p:cNvSpPr/>
            <p:nvPr/>
          </p:nvSpPr>
          <p:spPr>
            <a:xfrm>
              <a:off x="442913" y="2960155"/>
              <a:ext cx="441007" cy="44100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pl-PL" sz="1600" b="1" dirty="0"/>
                <a:t>2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8A5266E-341A-48B0-81C9-70F001BF3BB3}"/>
              </a:ext>
            </a:extLst>
          </p:cNvPr>
          <p:cNvGrpSpPr/>
          <p:nvPr/>
        </p:nvGrpSpPr>
        <p:grpSpPr>
          <a:xfrm>
            <a:off x="442913" y="4877713"/>
            <a:ext cx="11306175" cy="492443"/>
            <a:chOff x="442913" y="4249797"/>
            <a:chExt cx="11306175" cy="492443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10C78D79-253A-40E8-B060-B075AB30616A}"/>
                </a:ext>
              </a:extLst>
            </p:cNvPr>
            <p:cNvSpPr txBox="1"/>
            <p:nvPr/>
          </p:nvSpPr>
          <p:spPr>
            <a:xfrm>
              <a:off x="1076960" y="4249797"/>
              <a:ext cx="10672128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pl-PL" sz="1600" dirty="0"/>
                <a:t>Jak prawidłowo określić zobowiązanie roczne podatnika, jeżeli organ podatkowy ustali, że płatnik nie pobrał części zaliczek na podatek?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97214ED-BDD7-48F4-A97B-2DF893F4A013}"/>
                </a:ext>
              </a:extLst>
            </p:cNvPr>
            <p:cNvSpPr/>
            <p:nvPr/>
          </p:nvSpPr>
          <p:spPr>
            <a:xfrm>
              <a:off x="442913" y="4275515"/>
              <a:ext cx="441007" cy="44100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pl-PL" sz="1600" b="1" dirty="0"/>
                <a:t>3</a:t>
              </a:r>
            </a:p>
          </p:txBody>
        </p:sp>
      </p:grp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D546977-6559-41A5-951B-31F96B43C426}"/>
              </a:ext>
            </a:extLst>
          </p:cNvPr>
          <p:cNvCxnSpPr/>
          <p:nvPr/>
        </p:nvCxnSpPr>
        <p:spPr>
          <a:xfrm>
            <a:off x="442913" y="2737699"/>
            <a:ext cx="11306175" cy="0"/>
          </a:xfrm>
          <a:prstGeom prst="line">
            <a:avLst/>
          </a:prstGeom>
          <a:ln w="3175" cap="sq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61E0056-8ED2-458D-924F-4702565ED10A}"/>
              </a:ext>
            </a:extLst>
          </p:cNvPr>
          <p:cNvCxnSpPr/>
          <p:nvPr/>
        </p:nvCxnSpPr>
        <p:spPr>
          <a:xfrm>
            <a:off x="442913" y="4328523"/>
            <a:ext cx="11306175" cy="0"/>
          </a:xfrm>
          <a:prstGeom prst="line">
            <a:avLst/>
          </a:prstGeom>
          <a:ln w="3175" cap="sq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pic>
        <p:nvPicPr>
          <p:cNvPr id="20488" name="Picture 8">
            <a:extLst>
              <a:ext uri="{FF2B5EF4-FFF2-40B4-BE49-F238E27FC236}">
                <a16:creationId xmlns:a16="http://schemas.microsoft.com/office/drawing/2014/main" id="{6FD937EC-A63C-47B6-94B4-DFBCB950C5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454551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637C793-4EA8-4DED-AB28-030CEA67E8C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pl-PL" sz="320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199FC7A-DC5B-4843-81C0-3BFE5AF4C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Konkluzje referent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433F12-C296-43BF-9430-00BE87EBB9A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9</a:t>
            </a:fld>
            <a:endParaRPr lang="en-GB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F1575D0-2B4D-4C03-8EB1-6CE87D912D8C}"/>
              </a:ext>
            </a:extLst>
          </p:cNvPr>
          <p:cNvCxnSpPr/>
          <p:nvPr/>
        </p:nvCxnSpPr>
        <p:spPr>
          <a:xfrm>
            <a:off x="442913" y="2590654"/>
            <a:ext cx="11306175" cy="0"/>
          </a:xfrm>
          <a:prstGeom prst="line">
            <a:avLst/>
          </a:prstGeom>
          <a:ln w="3175" cap="sq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3C789A8-7856-43D9-AED7-C79331F667AD}"/>
              </a:ext>
            </a:extLst>
          </p:cNvPr>
          <p:cNvGrpSpPr/>
          <p:nvPr/>
        </p:nvGrpSpPr>
        <p:grpSpPr>
          <a:xfrm>
            <a:off x="442913" y="1721784"/>
            <a:ext cx="11306175" cy="441007"/>
            <a:chOff x="442913" y="1721784"/>
            <a:chExt cx="11306175" cy="441007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650F7B12-807E-4260-A949-82ADFA2ABA4D}"/>
                </a:ext>
              </a:extLst>
            </p:cNvPr>
            <p:cNvGrpSpPr/>
            <p:nvPr/>
          </p:nvGrpSpPr>
          <p:grpSpPr>
            <a:xfrm>
              <a:off x="442913" y="1721784"/>
              <a:ext cx="11306175" cy="441007"/>
              <a:chOff x="442913" y="1721784"/>
              <a:chExt cx="11306175" cy="441007"/>
            </a:xfrm>
          </p:grpSpPr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F5FFFBF1-7EA0-472B-87EF-99578372810E}"/>
                  </a:ext>
                </a:extLst>
              </p:cNvPr>
              <p:cNvSpPr txBox="1"/>
              <p:nvPr/>
            </p:nvSpPr>
            <p:spPr>
              <a:xfrm>
                <a:off x="1076960" y="1819176"/>
                <a:ext cx="10672128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>
                  <a:lnSpc>
                    <a:spcPct val="100000"/>
                  </a:lnSpc>
                  <a:spcAft>
                    <a:spcPts val="600"/>
                  </a:spcAft>
                  <a:buSzPct val="100000"/>
                </a:pPr>
                <a:r>
                  <a:rPr lang="pl-PL" sz="1600" dirty="0"/>
                  <a:t>art. 26a §1 ordynacji podatkowej daje pełną ochronę podatnika tak w trakcie roku, jak i po złożeniu zeznania;</a:t>
                </a:r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52634560-B08C-42BC-9E2D-06BE2A0B728A}"/>
                  </a:ext>
                </a:extLst>
              </p:cNvPr>
              <p:cNvSpPr/>
              <p:nvPr/>
            </p:nvSpPr>
            <p:spPr>
              <a:xfrm>
                <a:off x="442913" y="1721784"/>
                <a:ext cx="441007" cy="441007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pl-PL" sz="1600" b="1" dirty="0"/>
              </a:p>
            </p:txBody>
          </p:sp>
        </p:grpSp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617F29CA-B6D3-4C5C-81B3-2EEC8E9EECE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75945" y="1798160"/>
              <a:ext cx="180975" cy="288255"/>
            </a:xfrm>
            <a:custGeom>
              <a:avLst/>
              <a:gdLst>
                <a:gd name="T0" fmla="*/ 34 w 128"/>
                <a:gd name="T1" fmla="*/ 197 h 204"/>
                <a:gd name="T2" fmla="*/ 128 w 128"/>
                <a:gd name="T3" fmla="*/ 102 h 204"/>
                <a:gd name="T4" fmla="*/ 34 w 128"/>
                <a:gd name="T5" fmla="*/ 8 h 204"/>
                <a:gd name="T6" fmla="*/ 7 w 128"/>
                <a:gd name="T7" fmla="*/ 8 h 204"/>
                <a:gd name="T8" fmla="*/ 7 w 128"/>
                <a:gd name="T9" fmla="*/ 34 h 204"/>
                <a:gd name="T10" fmla="*/ 75 w 128"/>
                <a:gd name="T11" fmla="*/ 102 h 204"/>
                <a:gd name="T12" fmla="*/ 7 w 128"/>
                <a:gd name="T13" fmla="*/ 170 h 204"/>
                <a:gd name="T14" fmla="*/ 2 w 128"/>
                <a:gd name="T15" fmla="*/ 183 h 204"/>
                <a:gd name="T16" fmla="*/ 7 w 128"/>
                <a:gd name="T17" fmla="*/ 197 h 204"/>
                <a:gd name="T18" fmla="*/ 34 w 128"/>
                <a:gd name="T19" fmla="*/ 197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204">
                  <a:moveTo>
                    <a:pt x="34" y="197"/>
                  </a:moveTo>
                  <a:cubicBezTo>
                    <a:pt x="128" y="102"/>
                    <a:pt x="128" y="102"/>
                    <a:pt x="128" y="102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26" y="0"/>
                    <a:pt x="15" y="0"/>
                    <a:pt x="7" y="8"/>
                  </a:cubicBezTo>
                  <a:cubicBezTo>
                    <a:pt x="0" y="15"/>
                    <a:pt x="0" y="27"/>
                    <a:pt x="7" y="34"/>
                  </a:cubicBezTo>
                  <a:cubicBezTo>
                    <a:pt x="75" y="102"/>
                    <a:pt x="75" y="102"/>
                    <a:pt x="75" y="102"/>
                  </a:cubicBezTo>
                  <a:cubicBezTo>
                    <a:pt x="7" y="170"/>
                    <a:pt x="7" y="170"/>
                    <a:pt x="7" y="170"/>
                  </a:cubicBezTo>
                  <a:cubicBezTo>
                    <a:pt x="4" y="174"/>
                    <a:pt x="2" y="179"/>
                    <a:pt x="2" y="183"/>
                  </a:cubicBezTo>
                  <a:cubicBezTo>
                    <a:pt x="2" y="188"/>
                    <a:pt x="4" y="193"/>
                    <a:pt x="7" y="197"/>
                  </a:cubicBezTo>
                  <a:cubicBezTo>
                    <a:pt x="15" y="204"/>
                    <a:pt x="26" y="204"/>
                    <a:pt x="34" y="197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800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77B4499-E154-49FD-90FB-27E9F0DFE0B2}"/>
              </a:ext>
            </a:extLst>
          </p:cNvPr>
          <p:cNvGrpSpPr/>
          <p:nvPr/>
        </p:nvGrpSpPr>
        <p:grpSpPr>
          <a:xfrm>
            <a:off x="442913" y="2992800"/>
            <a:ext cx="11306175" cy="492443"/>
            <a:chOff x="442913" y="1696066"/>
            <a:chExt cx="11306175" cy="492443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F7CE7C88-6EC1-4D0B-B29F-F0688FFF1202}"/>
                </a:ext>
              </a:extLst>
            </p:cNvPr>
            <p:cNvGrpSpPr/>
            <p:nvPr/>
          </p:nvGrpSpPr>
          <p:grpSpPr>
            <a:xfrm>
              <a:off x="442913" y="1696066"/>
              <a:ext cx="11306175" cy="492443"/>
              <a:chOff x="442913" y="1696066"/>
              <a:chExt cx="11306175" cy="492443"/>
            </a:xfrm>
          </p:grpSpPr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AA5FE1CB-4A54-44C0-8E53-83D0AF45F088}"/>
                  </a:ext>
                </a:extLst>
              </p:cNvPr>
              <p:cNvSpPr txBox="1"/>
              <p:nvPr/>
            </p:nvSpPr>
            <p:spPr>
              <a:xfrm>
                <a:off x="1076960" y="1696066"/>
                <a:ext cx="10672128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>
                  <a:lnSpc>
                    <a:spcPct val="100000"/>
                  </a:lnSpc>
                  <a:spcAft>
                    <a:spcPts val="600"/>
                  </a:spcAft>
                  <a:buSzPct val="100000"/>
                </a:pPr>
                <a:r>
                  <a:rPr lang="pl-PL" sz="1600" dirty="0"/>
                  <a:t>podatnik, na gruncie tez omawianego wyroku, jest skutecznie chroniony przed działaniami aparatu państwa (odsetki, </a:t>
                </a:r>
                <a:r>
                  <a:rPr lang="pl-PL" sz="1600" dirty="0" err="1"/>
                  <a:t>kks</a:t>
                </a:r>
                <a:r>
                  <a:rPr lang="pl-PL" sz="1600" dirty="0"/>
                  <a:t>) do wysokości zaliczek;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EAC819D1-27C6-455D-B5ED-8F2350182543}"/>
                  </a:ext>
                </a:extLst>
              </p:cNvPr>
              <p:cNvSpPr/>
              <p:nvPr/>
            </p:nvSpPr>
            <p:spPr>
              <a:xfrm>
                <a:off x="442913" y="1721784"/>
                <a:ext cx="441007" cy="441007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pl-PL" sz="1600" b="1" dirty="0"/>
              </a:p>
            </p:txBody>
          </p:sp>
        </p:grpSp>
        <p:sp>
          <p:nvSpPr>
            <p:cNvPr id="23" name="Freeform 13">
              <a:extLst>
                <a:ext uri="{FF2B5EF4-FFF2-40B4-BE49-F238E27FC236}">
                  <a16:creationId xmlns:a16="http://schemas.microsoft.com/office/drawing/2014/main" id="{283DB1BC-A4EA-4FC4-9B8A-3225988B694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75945" y="1798160"/>
              <a:ext cx="180975" cy="288255"/>
            </a:xfrm>
            <a:custGeom>
              <a:avLst/>
              <a:gdLst>
                <a:gd name="T0" fmla="*/ 34 w 128"/>
                <a:gd name="T1" fmla="*/ 197 h 204"/>
                <a:gd name="T2" fmla="*/ 128 w 128"/>
                <a:gd name="T3" fmla="*/ 102 h 204"/>
                <a:gd name="T4" fmla="*/ 34 w 128"/>
                <a:gd name="T5" fmla="*/ 8 h 204"/>
                <a:gd name="T6" fmla="*/ 7 w 128"/>
                <a:gd name="T7" fmla="*/ 8 h 204"/>
                <a:gd name="T8" fmla="*/ 7 w 128"/>
                <a:gd name="T9" fmla="*/ 34 h 204"/>
                <a:gd name="T10" fmla="*/ 75 w 128"/>
                <a:gd name="T11" fmla="*/ 102 h 204"/>
                <a:gd name="T12" fmla="*/ 7 w 128"/>
                <a:gd name="T13" fmla="*/ 170 h 204"/>
                <a:gd name="T14" fmla="*/ 2 w 128"/>
                <a:gd name="T15" fmla="*/ 183 h 204"/>
                <a:gd name="T16" fmla="*/ 7 w 128"/>
                <a:gd name="T17" fmla="*/ 197 h 204"/>
                <a:gd name="T18" fmla="*/ 34 w 128"/>
                <a:gd name="T19" fmla="*/ 197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204">
                  <a:moveTo>
                    <a:pt x="34" y="197"/>
                  </a:moveTo>
                  <a:cubicBezTo>
                    <a:pt x="128" y="102"/>
                    <a:pt x="128" y="102"/>
                    <a:pt x="128" y="102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26" y="0"/>
                    <a:pt x="15" y="0"/>
                    <a:pt x="7" y="8"/>
                  </a:cubicBezTo>
                  <a:cubicBezTo>
                    <a:pt x="0" y="15"/>
                    <a:pt x="0" y="27"/>
                    <a:pt x="7" y="34"/>
                  </a:cubicBezTo>
                  <a:cubicBezTo>
                    <a:pt x="75" y="102"/>
                    <a:pt x="75" y="102"/>
                    <a:pt x="75" y="102"/>
                  </a:cubicBezTo>
                  <a:cubicBezTo>
                    <a:pt x="7" y="170"/>
                    <a:pt x="7" y="170"/>
                    <a:pt x="7" y="170"/>
                  </a:cubicBezTo>
                  <a:cubicBezTo>
                    <a:pt x="4" y="174"/>
                    <a:pt x="2" y="179"/>
                    <a:pt x="2" y="183"/>
                  </a:cubicBezTo>
                  <a:cubicBezTo>
                    <a:pt x="2" y="188"/>
                    <a:pt x="4" y="193"/>
                    <a:pt x="7" y="197"/>
                  </a:cubicBezTo>
                  <a:cubicBezTo>
                    <a:pt x="15" y="204"/>
                    <a:pt x="26" y="204"/>
                    <a:pt x="34" y="197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800"/>
            </a:p>
          </p:txBody>
        </p:sp>
      </p:grp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A91D0BF-E3D0-46E9-A933-A05A332487DA}"/>
              </a:ext>
            </a:extLst>
          </p:cNvPr>
          <p:cNvCxnSpPr/>
          <p:nvPr/>
        </p:nvCxnSpPr>
        <p:spPr>
          <a:xfrm>
            <a:off x="442913" y="3887388"/>
            <a:ext cx="11306175" cy="0"/>
          </a:xfrm>
          <a:prstGeom prst="line">
            <a:avLst/>
          </a:prstGeom>
          <a:ln w="3175" cap="sq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78E6AF4-74AC-4346-A744-1E8001392816}"/>
              </a:ext>
            </a:extLst>
          </p:cNvPr>
          <p:cNvGrpSpPr/>
          <p:nvPr/>
        </p:nvGrpSpPr>
        <p:grpSpPr>
          <a:xfrm>
            <a:off x="442913" y="4258756"/>
            <a:ext cx="11306175" cy="441007"/>
            <a:chOff x="442913" y="1721784"/>
            <a:chExt cx="11306175" cy="441007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6ABD59CD-28B4-4970-B1F3-190CF75D59C5}"/>
                </a:ext>
              </a:extLst>
            </p:cNvPr>
            <p:cNvGrpSpPr/>
            <p:nvPr/>
          </p:nvGrpSpPr>
          <p:grpSpPr>
            <a:xfrm>
              <a:off x="442913" y="1721784"/>
              <a:ext cx="11306175" cy="441007"/>
              <a:chOff x="442913" y="1721784"/>
              <a:chExt cx="11306175" cy="441007"/>
            </a:xfrm>
          </p:grpSpPr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C6DA5DB2-BE04-4C9F-9413-0D06359D818F}"/>
                  </a:ext>
                </a:extLst>
              </p:cNvPr>
              <p:cNvSpPr txBox="1"/>
              <p:nvPr/>
            </p:nvSpPr>
            <p:spPr>
              <a:xfrm>
                <a:off x="1076960" y="1819176"/>
                <a:ext cx="10672128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>
                  <a:lnSpc>
                    <a:spcPct val="100000"/>
                  </a:lnSpc>
                  <a:spcAft>
                    <a:spcPts val="600"/>
                  </a:spcAft>
                  <a:buSzPct val="100000"/>
                </a:pPr>
                <a:r>
                  <a:rPr lang="pl-PL" sz="1600" dirty="0"/>
                  <a:t>organ musi kierować swoje kroki najpierw do płatnika;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DFA236EE-1C04-4580-A368-5E13EC9298BA}"/>
                  </a:ext>
                </a:extLst>
              </p:cNvPr>
              <p:cNvSpPr/>
              <p:nvPr/>
            </p:nvSpPr>
            <p:spPr>
              <a:xfrm>
                <a:off x="442913" y="1721784"/>
                <a:ext cx="441007" cy="441007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pl-PL" sz="1600" b="1" dirty="0"/>
              </a:p>
            </p:txBody>
          </p:sp>
        </p:grp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01F9E725-DD6E-4BFC-8492-FB1D672EF8E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75945" y="1798160"/>
              <a:ext cx="180975" cy="288255"/>
            </a:xfrm>
            <a:custGeom>
              <a:avLst/>
              <a:gdLst>
                <a:gd name="T0" fmla="*/ 34 w 128"/>
                <a:gd name="T1" fmla="*/ 197 h 204"/>
                <a:gd name="T2" fmla="*/ 128 w 128"/>
                <a:gd name="T3" fmla="*/ 102 h 204"/>
                <a:gd name="T4" fmla="*/ 34 w 128"/>
                <a:gd name="T5" fmla="*/ 8 h 204"/>
                <a:gd name="T6" fmla="*/ 7 w 128"/>
                <a:gd name="T7" fmla="*/ 8 h 204"/>
                <a:gd name="T8" fmla="*/ 7 w 128"/>
                <a:gd name="T9" fmla="*/ 34 h 204"/>
                <a:gd name="T10" fmla="*/ 75 w 128"/>
                <a:gd name="T11" fmla="*/ 102 h 204"/>
                <a:gd name="T12" fmla="*/ 7 w 128"/>
                <a:gd name="T13" fmla="*/ 170 h 204"/>
                <a:gd name="T14" fmla="*/ 2 w 128"/>
                <a:gd name="T15" fmla="*/ 183 h 204"/>
                <a:gd name="T16" fmla="*/ 7 w 128"/>
                <a:gd name="T17" fmla="*/ 197 h 204"/>
                <a:gd name="T18" fmla="*/ 34 w 128"/>
                <a:gd name="T19" fmla="*/ 197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204">
                  <a:moveTo>
                    <a:pt x="34" y="197"/>
                  </a:moveTo>
                  <a:cubicBezTo>
                    <a:pt x="128" y="102"/>
                    <a:pt x="128" y="102"/>
                    <a:pt x="128" y="102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26" y="0"/>
                    <a:pt x="15" y="0"/>
                    <a:pt x="7" y="8"/>
                  </a:cubicBezTo>
                  <a:cubicBezTo>
                    <a:pt x="0" y="15"/>
                    <a:pt x="0" y="27"/>
                    <a:pt x="7" y="34"/>
                  </a:cubicBezTo>
                  <a:cubicBezTo>
                    <a:pt x="75" y="102"/>
                    <a:pt x="75" y="102"/>
                    <a:pt x="75" y="102"/>
                  </a:cubicBezTo>
                  <a:cubicBezTo>
                    <a:pt x="7" y="170"/>
                    <a:pt x="7" y="170"/>
                    <a:pt x="7" y="170"/>
                  </a:cubicBezTo>
                  <a:cubicBezTo>
                    <a:pt x="4" y="174"/>
                    <a:pt x="2" y="179"/>
                    <a:pt x="2" y="183"/>
                  </a:cubicBezTo>
                  <a:cubicBezTo>
                    <a:pt x="2" y="188"/>
                    <a:pt x="4" y="193"/>
                    <a:pt x="7" y="197"/>
                  </a:cubicBezTo>
                  <a:cubicBezTo>
                    <a:pt x="15" y="204"/>
                    <a:pt x="26" y="204"/>
                    <a:pt x="34" y="197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800"/>
            </a:p>
          </p:txBody>
        </p:sp>
      </p:grp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3FE3949B-3E70-4362-B56F-5422F046EC35}"/>
              </a:ext>
            </a:extLst>
          </p:cNvPr>
          <p:cNvCxnSpPr/>
          <p:nvPr/>
        </p:nvCxnSpPr>
        <p:spPr>
          <a:xfrm>
            <a:off x="442913" y="5071131"/>
            <a:ext cx="11306175" cy="0"/>
          </a:xfrm>
          <a:prstGeom prst="line">
            <a:avLst/>
          </a:prstGeom>
          <a:ln w="3175" cap="sq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BB2DCDB-3CF1-4EE5-8BEE-5B69BAC9EC4A}"/>
              </a:ext>
            </a:extLst>
          </p:cNvPr>
          <p:cNvGrpSpPr/>
          <p:nvPr/>
        </p:nvGrpSpPr>
        <p:grpSpPr>
          <a:xfrm>
            <a:off x="442913" y="5473275"/>
            <a:ext cx="11306175" cy="492443"/>
            <a:chOff x="442913" y="1696066"/>
            <a:chExt cx="11306175" cy="492443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2219815D-8453-43FB-A237-21091CFB9028}"/>
                </a:ext>
              </a:extLst>
            </p:cNvPr>
            <p:cNvGrpSpPr/>
            <p:nvPr/>
          </p:nvGrpSpPr>
          <p:grpSpPr>
            <a:xfrm>
              <a:off x="442913" y="1696066"/>
              <a:ext cx="11306175" cy="492443"/>
              <a:chOff x="442913" y="1696066"/>
              <a:chExt cx="11306175" cy="492443"/>
            </a:xfrm>
          </p:grpSpPr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B9FC21CF-A543-4667-8FEF-6A0DB246E137}"/>
                  </a:ext>
                </a:extLst>
              </p:cNvPr>
              <p:cNvSpPr txBox="1"/>
              <p:nvPr/>
            </p:nvSpPr>
            <p:spPr>
              <a:xfrm>
                <a:off x="1076960" y="1696066"/>
                <a:ext cx="10672128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>
                  <a:lnSpc>
                    <a:spcPct val="100000"/>
                  </a:lnSpc>
                  <a:spcAft>
                    <a:spcPts val="600"/>
                  </a:spcAft>
                  <a:buSzPct val="100000"/>
                </a:pPr>
                <a:r>
                  <a:rPr lang="pl-PL" sz="1600" dirty="0"/>
                  <a:t>efekt braku zapłaty podatku przy interpretacji chroniącej płatnika wystąpi na skutek błędu (zmiany stanowiska) organu; skarb państwa poniesie (słusznie) skutek błędnego działania swojego organu.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A8EFBC4B-265D-46C8-A29A-DC3491E52F08}"/>
                  </a:ext>
                </a:extLst>
              </p:cNvPr>
              <p:cNvSpPr/>
              <p:nvPr/>
            </p:nvSpPr>
            <p:spPr>
              <a:xfrm>
                <a:off x="442913" y="1721784"/>
                <a:ext cx="441007" cy="441007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pl-PL" sz="1600" b="1" dirty="0"/>
              </a:p>
            </p:txBody>
          </p:sp>
        </p:grpSp>
        <p:sp>
          <p:nvSpPr>
            <p:cNvPr id="35" name="Freeform 13">
              <a:extLst>
                <a:ext uri="{FF2B5EF4-FFF2-40B4-BE49-F238E27FC236}">
                  <a16:creationId xmlns:a16="http://schemas.microsoft.com/office/drawing/2014/main" id="{3ED1E183-1143-408E-8C50-EFE213E3FD1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75945" y="1798160"/>
              <a:ext cx="180975" cy="288255"/>
            </a:xfrm>
            <a:custGeom>
              <a:avLst/>
              <a:gdLst>
                <a:gd name="T0" fmla="*/ 34 w 128"/>
                <a:gd name="T1" fmla="*/ 197 h 204"/>
                <a:gd name="T2" fmla="*/ 128 w 128"/>
                <a:gd name="T3" fmla="*/ 102 h 204"/>
                <a:gd name="T4" fmla="*/ 34 w 128"/>
                <a:gd name="T5" fmla="*/ 8 h 204"/>
                <a:gd name="T6" fmla="*/ 7 w 128"/>
                <a:gd name="T7" fmla="*/ 8 h 204"/>
                <a:gd name="T8" fmla="*/ 7 w 128"/>
                <a:gd name="T9" fmla="*/ 34 h 204"/>
                <a:gd name="T10" fmla="*/ 75 w 128"/>
                <a:gd name="T11" fmla="*/ 102 h 204"/>
                <a:gd name="T12" fmla="*/ 7 w 128"/>
                <a:gd name="T13" fmla="*/ 170 h 204"/>
                <a:gd name="T14" fmla="*/ 2 w 128"/>
                <a:gd name="T15" fmla="*/ 183 h 204"/>
                <a:gd name="T16" fmla="*/ 7 w 128"/>
                <a:gd name="T17" fmla="*/ 197 h 204"/>
                <a:gd name="T18" fmla="*/ 34 w 128"/>
                <a:gd name="T19" fmla="*/ 197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204">
                  <a:moveTo>
                    <a:pt x="34" y="197"/>
                  </a:moveTo>
                  <a:cubicBezTo>
                    <a:pt x="128" y="102"/>
                    <a:pt x="128" y="102"/>
                    <a:pt x="128" y="102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26" y="0"/>
                    <a:pt x="15" y="0"/>
                    <a:pt x="7" y="8"/>
                  </a:cubicBezTo>
                  <a:cubicBezTo>
                    <a:pt x="0" y="15"/>
                    <a:pt x="0" y="27"/>
                    <a:pt x="7" y="34"/>
                  </a:cubicBezTo>
                  <a:cubicBezTo>
                    <a:pt x="75" y="102"/>
                    <a:pt x="75" y="102"/>
                    <a:pt x="75" y="102"/>
                  </a:cubicBezTo>
                  <a:cubicBezTo>
                    <a:pt x="7" y="170"/>
                    <a:pt x="7" y="170"/>
                    <a:pt x="7" y="170"/>
                  </a:cubicBezTo>
                  <a:cubicBezTo>
                    <a:pt x="4" y="174"/>
                    <a:pt x="2" y="179"/>
                    <a:pt x="2" y="183"/>
                  </a:cubicBezTo>
                  <a:cubicBezTo>
                    <a:pt x="2" y="188"/>
                    <a:pt x="4" y="193"/>
                    <a:pt x="7" y="197"/>
                  </a:cubicBezTo>
                  <a:cubicBezTo>
                    <a:pt x="15" y="204"/>
                    <a:pt x="26" y="204"/>
                    <a:pt x="34" y="197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800"/>
            </a:p>
          </p:txBody>
        </p:sp>
      </p:grpSp>
      <p:pic>
        <p:nvPicPr>
          <p:cNvPr id="21511" name="Picture 7">
            <a:extLst>
              <a:ext uri="{FF2B5EF4-FFF2-40B4-BE49-F238E27FC236}">
                <a16:creationId xmlns:a16="http://schemas.microsoft.com/office/drawing/2014/main" id="{27358D7A-9A57-4589-AF48-9250A3DE7F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936266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1J5ZRw9sPMYGEJOyn.6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fdlt9iPxnkxhvXEu6xT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arfdrTZ541BsMVhO1xy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ompjkDztYn0Nj3oKXG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ompjkDztYn0Nj3oKXGK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ompjkDztYn0Nj3oKXG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fQs1S5BZhxSsGkKCl6g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Uq_oneEkASJm7OagRrA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qeAZdlutC6c4BulSU9z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zzcf.N0LMGgp2NHtUP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zPdIhSCyrZynIeGlrNQ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wYUApGfVjsqe6MdkNZ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wYUApGfVjsqe6MdkNZ5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aMEXMwVNQnXRA_VLhla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Dk31NY7IaXp_59JIuE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nvmW3zHxa7rJa6_1FQP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bwGdg2KozS3mL1qL6YtA"/>
</p:tagLst>
</file>

<file path=ppt/theme/theme1.xml><?xml version="1.0" encoding="utf-8"?>
<a:theme xmlns:a="http://schemas.openxmlformats.org/drawingml/2006/main" name="PwC">
  <a:themeElements>
    <a:clrScheme name="PwC_Brand_Updated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lnSpc>
            <a:spcPct val="100000"/>
          </a:lnSpc>
          <a:buSzPct val="100000"/>
          <a:defRPr sz="1600" dirty="0" err="1" smtClean="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  <a:extLst>
    <a:ext uri="{05A4C25C-085E-4340-85A3-A5531E510DB2}">
      <thm15:themeFamily xmlns:thm15="http://schemas.microsoft.com/office/thememl/2012/main" name="PwC 16x9 PowerPoint 08Oct2018" id="{BF377696-7D08-47D2-AF19-27D76F4E8FB7}" vid="{71BF8C14-62C8-40A5-97EF-74ED9907CD5B}"/>
    </a:ext>
  </a:extLst>
</a:theme>
</file>

<file path=ppt/theme/theme2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6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</a:theme>
</file>

<file path=ppt/theme/theme3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6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wC_16x9_BrandUpdate_2018</Template>
  <TotalTime>344</TotalTime>
  <Words>1150</Words>
  <Application>Microsoft Office PowerPoint</Application>
  <PresentationFormat>Panoramiczny</PresentationFormat>
  <Paragraphs>56</Paragraphs>
  <Slides>10</Slides>
  <Notes>8</Notes>
  <HiddenSlides>0</HiddenSlides>
  <MMClips>0</MMClips>
  <ScaleCrop>false</ScaleCrop>
  <HeadingPairs>
    <vt:vector size="6" baseType="variant">
      <vt:variant>
        <vt:lpstr>Używane czcionki</vt:lpstr>
      </vt:variant>
      <vt:variant>
        <vt:i4>2</vt:i4>
      </vt:variant>
      <vt:variant>
        <vt:lpstr>Motyw</vt:lpstr>
      </vt:variant>
      <vt:variant>
        <vt:i4>1</vt:i4>
      </vt:variant>
      <vt:variant>
        <vt:lpstr>Tytuły slajdów</vt:lpstr>
      </vt:variant>
      <vt:variant>
        <vt:i4>10</vt:i4>
      </vt:variant>
    </vt:vector>
  </HeadingPairs>
  <TitlesOfParts>
    <vt:vector size="13" baseType="lpstr">
      <vt:lpstr>Arial</vt:lpstr>
      <vt:lpstr>Georgia</vt:lpstr>
      <vt:lpstr>PwC</vt:lpstr>
      <vt:lpstr>Niepobranie podatku przez płatnika stosującego się do interpretacji a odpowiedzialność podatnika</vt:lpstr>
      <vt:lpstr>Stan faktyczny</vt:lpstr>
      <vt:lpstr>Stanowisko organu interpretacyjnego</vt:lpstr>
      <vt:lpstr>Stanowisko WSA we Wrocławiu</vt:lpstr>
      <vt:lpstr>Stanowisko NSA w komentowanym wyroku</vt:lpstr>
      <vt:lpstr>Zdanie odrębne do komentowanego wyroku NSA</vt:lpstr>
      <vt:lpstr>Stanowisko podobne do komentowanego wyroku</vt:lpstr>
      <vt:lpstr>Główne problemy</vt:lpstr>
      <vt:lpstr>Konkluzje referenta</vt:lpstr>
      <vt:lpstr>Dziękuję za uwagę.</vt:lpstr>
    </vt:vector>
  </TitlesOfParts>
  <Manager/>
  <Company>PricewaterhouseCoopers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rem ipsum  dolor sit amet consectetuer</dc:title>
  <dc:subject/>
  <dc:creator>Dorota Joziak</dc:creator>
  <cp:keywords/>
  <dc:description/>
  <cp:lastModifiedBy>Wojciech Morawski</cp:lastModifiedBy>
  <cp:revision>35</cp:revision>
  <dcterms:created xsi:type="dcterms:W3CDTF">2018-11-30T12:52:36Z</dcterms:created>
  <dcterms:modified xsi:type="dcterms:W3CDTF">2020-03-04T15:54:13Z</dcterms:modified>
  <cp:category/>
</cp:coreProperties>
</file>